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style3.xml" ContentType="application/vnd.ms-office.chartstyle+xml"/>
  <Override PartName="/ppt/charts/colors3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7" r:id="rId3"/>
    <p:sldId id="258" r:id="rId4"/>
    <p:sldId id="259" r:id="rId5"/>
    <p:sldId id="260" r:id="rId6"/>
    <p:sldId id="261" r:id="rId7"/>
    <p:sldId id="263" r:id="rId8"/>
    <p:sldId id="272" r:id="rId9"/>
    <p:sldId id="264" r:id="rId10"/>
    <p:sldId id="265" r:id="rId11"/>
    <p:sldId id="266" r:id="rId12"/>
    <p:sldId id="267" r:id="rId13"/>
    <p:sldId id="274" r:id="rId14"/>
    <p:sldId id="268" r:id="rId15"/>
    <p:sldId id="269" r:id="rId16"/>
    <p:sldId id="270" r:id="rId17"/>
    <p:sldId id="273" r:id="rId1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29DD7"/>
    <a:srgbClr val="FFFECE"/>
    <a:srgbClr val="E1992F"/>
    <a:srgbClr val="E8B161"/>
    <a:srgbClr val="3B87C5"/>
    <a:srgbClr val="E9C38B"/>
    <a:srgbClr val="F0D5AE"/>
    <a:srgbClr val="3A87C5"/>
    <a:srgbClr val="519CD6"/>
    <a:srgbClr val="DDA4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482" autoAdjust="0"/>
    <p:restoredTop sz="94660"/>
  </p:normalViewPr>
  <p:slideViewPr>
    <p:cSldViewPr snapToGrid="0">
      <p:cViewPr>
        <p:scale>
          <a:sx n="59" d="100"/>
          <a:sy n="59" d="100"/>
        </p:scale>
        <p:origin x="-1122" y="-15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___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___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Excel____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520883777348112E-2"/>
          <c:y val="5.9259259259259262E-2"/>
          <c:w val="0.82095787431592815"/>
          <c:h val="0.8913580246913579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solidFill>
              <a:srgbClr val="D9D9D9"/>
            </a:solidFill>
          </c:spPr>
          <c:dPt>
            <c:idx val="0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519CD6"/>
              </a:solidFill>
              <a:ln>
                <a:noFill/>
              </a:ln>
              <a:effectLst/>
            </c:spPr>
          </c:dPt>
          <c:cat>
            <c:strRef>
              <c:f>Sheet1!$A$2:$A$3</c:f>
              <c:strCache>
                <c:ptCount val="2"/>
                <c:pt idx="0">
                  <c:v>第一季度</c:v>
                </c:pt>
                <c:pt idx="1">
                  <c:v>第二季度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2000000000000011</c:v>
                </c:pt>
                <c:pt idx="1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255"/>
        <c:holeSize val="88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520883777348112E-2"/>
          <c:y val="5.9259259259259262E-2"/>
          <c:w val="0.82095787431592815"/>
          <c:h val="0.8913580246913579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0"/>
            <c:bubble3D val="0"/>
            <c:spPr>
              <a:solidFill>
                <a:srgbClr val="E8B161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</c:dPt>
          <c:cat>
            <c:strRef>
              <c:f>Sheet1!$A$2:$A$3</c:f>
              <c:strCache>
                <c:ptCount val="2"/>
                <c:pt idx="0">
                  <c:v>第一季度</c:v>
                </c:pt>
                <c:pt idx="1">
                  <c:v>第二季度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5</c:v>
                </c:pt>
                <c:pt idx="1">
                  <c:v>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88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520883777348112E-2"/>
          <c:y val="5.9259259259259262E-2"/>
          <c:w val="0.82095787431592815"/>
          <c:h val="0.8913580246913579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0"/>
            <c:bubble3D val="0"/>
            <c:spPr>
              <a:solidFill>
                <a:srgbClr val="519CD6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</c:dPt>
          <c:cat>
            <c:strRef>
              <c:f>Sheet1!$A$2:$A$3</c:f>
              <c:strCache>
                <c:ptCount val="2"/>
                <c:pt idx="0">
                  <c:v>第一季度</c:v>
                </c:pt>
                <c:pt idx="1">
                  <c:v>第二季度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5</c:v>
                </c:pt>
                <c:pt idx="1">
                  <c:v>5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88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459780" y="1106321"/>
            <a:ext cx="6245475" cy="2387600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5475822" y="3602038"/>
            <a:ext cx="6245475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7" name="图片 6" descr="SF-LOGO.pn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4000" contrast="-2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Texturizer/>
                    </a14:imgEffect>
                  </a14:imgLayer>
                </a14:imgProps>
              </a:ext>
            </a:extLst>
          </a:blip>
          <a:srcRect l="5536" t="34793" r="78219" b="32603"/>
          <a:stretch>
            <a:fillRect/>
          </a:stretch>
        </p:blipFill>
        <p:spPr>
          <a:xfrm rot="20429902">
            <a:off x="300687" y="652517"/>
            <a:ext cx="5527790" cy="4385173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3810" y="5960614"/>
            <a:ext cx="2229852" cy="881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39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469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任意多边形 7"/>
          <p:cNvSpPr/>
          <p:nvPr userDrawn="1"/>
        </p:nvSpPr>
        <p:spPr>
          <a:xfrm>
            <a:off x="2013044" y="2330143"/>
            <a:ext cx="8598089" cy="1678674"/>
          </a:xfrm>
          <a:custGeom>
            <a:avLst/>
            <a:gdLst>
              <a:gd name="connsiteX0" fmla="*/ 0 w 7710985"/>
              <a:gd name="connsiteY0" fmla="*/ 0 h 1678674"/>
              <a:gd name="connsiteX1" fmla="*/ 7710985 w 7710985"/>
              <a:gd name="connsiteY1" fmla="*/ 0 h 1678674"/>
              <a:gd name="connsiteX2" fmla="*/ 7710985 w 7710985"/>
              <a:gd name="connsiteY2" fmla="*/ 8202 h 1678674"/>
              <a:gd name="connsiteX3" fmla="*/ 6885302 w 7710985"/>
              <a:gd name="connsiteY3" fmla="*/ 833885 h 1678674"/>
              <a:gd name="connsiteX4" fmla="*/ 7710985 w 7710985"/>
              <a:gd name="connsiteY4" fmla="*/ 1659569 h 1678674"/>
              <a:gd name="connsiteX5" fmla="*/ 7710985 w 7710985"/>
              <a:gd name="connsiteY5" fmla="*/ 1678674 h 1678674"/>
              <a:gd name="connsiteX6" fmla="*/ 0 w 7710985"/>
              <a:gd name="connsiteY6" fmla="*/ 1678674 h 1678674"/>
              <a:gd name="connsiteX7" fmla="*/ 0 w 7710985"/>
              <a:gd name="connsiteY7" fmla="*/ 1659567 h 1678674"/>
              <a:gd name="connsiteX8" fmla="*/ 825683 w 7710985"/>
              <a:gd name="connsiteY8" fmla="*/ 833884 h 1678674"/>
              <a:gd name="connsiteX9" fmla="*/ 0 w 7710985"/>
              <a:gd name="connsiteY9" fmla="*/ 8202 h 1678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710985" h="1678674">
                <a:moveTo>
                  <a:pt x="0" y="0"/>
                </a:moveTo>
                <a:lnTo>
                  <a:pt x="7710985" y="0"/>
                </a:lnTo>
                <a:lnTo>
                  <a:pt x="7710985" y="8202"/>
                </a:lnTo>
                <a:lnTo>
                  <a:pt x="6885302" y="833885"/>
                </a:lnTo>
                <a:lnTo>
                  <a:pt x="7710985" y="1659569"/>
                </a:lnTo>
                <a:lnTo>
                  <a:pt x="7710985" y="1678674"/>
                </a:lnTo>
                <a:lnTo>
                  <a:pt x="0" y="1678674"/>
                </a:lnTo>
                <a:lnTo>
                  <a:pt x="0" y="1659567"/>
                </a:lnTo>
                <a:lnTo>
                  <a:pt x="825683" y="833884"/>
                </a:lnTo>
                <a:lnTo>
                  <a:pt x="0" y="8202"/>
                </a:lnTo>
                <a:close/>
              </a:path>
            </a:pathLst>
          </a:custGeom>
          <a:solidFill>
            <a:srgbClr val="FFFF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3111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9" name="直接连接符 8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067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9" name="直接连接符 8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657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9" name="直接连接符 8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7051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7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10" name="直接连接符 9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566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10" name="矩形 9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" name="图片 10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12" name="直接连接符 11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8157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8" name="直接连接符 7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489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5" name="矩形 4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8" name="直接连接符 7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378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7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10" name="直接连接符 9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3955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104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7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10" name="直接连接符 9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4037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 descr="SF-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9" name="直接连接符 8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6027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8D1E5-6E0D-4E41-BDD9-A2A3F674B03F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5612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4066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4266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6118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114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174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5994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9E908-AD52-4F26-9C78-3EB9863B5EE3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090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B9E908-AD52-4F26-9C78-3EB9863B5EE3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A11514-2403-42EA-AA88-D64CFE76CD27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" y="0"/>
            <a:ext cx="12191445" cy="6858000"/>
          </a:xfrm>
          <a:prstGeom prst="rect">
            <a:avLst/>
          </a:prstGeom>
        </p:spPr>
      </p:pic>
      <p:sp>
        <p:nvSpPr>
          <p:cNvPr id="13" name="矩形 12"/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45473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6" r:id="rId7"/>
    <p:sldLayoutId id="2147483657" r:id="rId8"/>
    <p:sldLayoutId id="2147483658" r:id="rId9"/>
    <p:sldLayoutId id="2147483659" r:id="rId10"/>
    <p:sldLayoutId id="2147483655" r:id="rId11"/>
  </p:sldLayoutIdLst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F8D1E5-6E0D-4E41-BDD9-A2A3F674B03F}" type="datetimeFigureOut">
              <a:rPr lang="zh-CN" altLang="en-US" smtClean="0"/>
              <a:pPr/>
              <a:t>2017/1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303EAE-90E0-4240-AC96-84707CEAF83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-13063" y="6263640"/>
            <a:ext cx="12192000" cy="594360"/>
          </a:xfrm>
          <a:prstGeom prst="rect">
            <a:avLst/>
          </a:prstGeom>
          <a:ln>
            <a:solidFill>
              <a:srgbClr val="529DD7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 descr="SF-LOGO.png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208021" y="6250951"/>
            <a:ext cx="1566432" cy="619127"/>
          </a:xfrm>
          <a:prstGeom prst="rect">
            <a:avLst/>
          </a:prstGeom>
        </p:spPr>
      </p:pic>
      <p:cxnSp>
        <p:nvCxnSpPr>
          <p:cNvPr id="9" name="直接连接符 8"/>
          <p:cNvCxnSpPr/>
          <p:nvPr userDrawn="1"/>
        </p:nvCxnSpPr>
        <p:spPr>
          <a:xfrm>
            <a:off x="1828799" y="6343114"/>
            <a:ext cx="0" cy="42888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075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27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.xml"/><Relationship Id="rId4" Type="http://schemas.openxmlformats.org/officeDocument/2006/relationships/chart" Target="../charts/char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11"/>
          <p:cNvSpPr txBox="1"/>
          <p:nvPr/>
        </p:nvSpPr>
        <p:spPr>
          <a:xfrm>
            <a:off x="7240139" y="4399500"/>
            <a:ext cx="28023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 smtClean="0">
                <a:solidFill>
                  <a:srgbClr val="FFFFC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www.sf-express.com</a:t>
            </a:r>
            <a:endParaRPr lang="zh-CN" altLang="en-US" sz="2000" dirty="0">
              <a:solidFill>
                <a:srgbClr val="FFFFC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57430911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1782121" y="1772378"/>
            <a:ext cx="1819275" cy="1819275"/>
          </a:xfrm>
          <a:prstGeom prst="rect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1782121" y="3761028"/>
            <a:ext cx="1819275" cy="1819275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直角三角形 3"/>
          <p:cNvSpPr/>
          <p:nvPr/>
        </p:nvSpPr>
        <p:spPr>
          <a:xfrm>
            <a:off x="1782121" y="3761027"/>
            <a:ext cx="1819275" cy="1819275"/>
          </a:xfrm>
          <a:prstGeom prst="rtTriangl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直角三角形 4"/>
          <p:cNvSpPr/>
          <p:nvPr/>
        </p:nvSpPr>
        <p:spPr>
          <a:xfrm>
            <a:off x="1782121" y="1772378"/>
            <a:ext cx="1819275" cy="1819275"/>
          </a:xfrm>
          <a:prstGeom prst="rtTriangle">
            <a:avLst/>
          </a:pr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3757863" y="1772378"/>
            <a:ext cx="6817895" cy="18192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3757863" y="3761027"/>
            <a:ext cx="6817895" cy="18192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2" name="Picture 5" descr="\\MAGNUM\Projects\Microsoft\Cloud Power FY12\Design\ICONS_PNG\Increase.png"/>
          <p:cNvPicPr>
            <a:picLocks noChangeAspect="1" noChangeArrowheads="1"/>
          </p:cNvPicPr>
          <p:nvPr/>
        </p:nvPicPr>
        <p:blipFill>
          <a:blip r:embed="rId2" cstate="print">
            <a:biLevel thresh="50000"/>
          </a:blip>
          <a:srcRect/>
          <a:stretch>
            <a:fillRect/>
          </a:stretch>
        </p:blipFill>
        <p:spPr bwMode="auto">
          <a:xfrm>
            <a:off x="1685868" y="1772377"/>
            <a:ext cx="1975742" cy="1713260"/>
          </a:xfrm>
          <a:prstGeom prst="rect">
            <a:avLst/>
          </a:prstGeom>
          <a:noFill/>
        </p:spPr>
      </p:pic>
      <p:grpSp>
        <p:nvGrpSpPr>
          <p:cNvPr id="8" name="组合 7"/>
          <p:cNvGrpSpPr/>
          <p:nvPr/>
        </p:nvGrpSpPr>
        <p:grpSpPr>
          <a:xfrm>
            <a:off x="1945401" y="4078692"/>
            <a:ext cx="1387141" cy="1263281"/>
            <a:chOff x="2065786" y="4184708"/>
            <a:chExt cx="1143803" cy="1041671"/>
          </a:xfrm>
        </p:grpSpPr>
        <p:pic>
          <p:nvPicPr>
            <p:cNvPr id="14" name="Picture 3" descr="\\MAGNUM\Projects\Microsoft\Cloud Power FY12\Design\ICONS_PNG\User.png"/>
            <p:cNvPicPr>
              <a:picLocks noChangeAspect="1" noChangeArrowheads="1"/>
            </p:cNvPicPr>
            <p:nvPr/>
          </p:nvPicPr>
          <p:blipFill>
            <a:blip r:embed="rId3" cstate="print">
              <a:biLevel thresh="25000"/>
            </a:blip>
            <a:srcRect/>
            <a:stretch>
              <a:fillRect/>
            </a:stretch>
          </p:blipFill>
          <p:spPr bwMode="auto">
            <a:xfrm>
              <a:off x="2065786" y="4184708"/>
              <a:ext cx="1041942" cy="1041671"/>
            </a:xfrm>
            <a:prstGeom prst="rect">
              <a:avLst/>
            </a:prstGeom>
            <a:noFill/>
          </p:spPr>
        </p:pic>
        <p:pic>
          <p:nvPicPr>
            <p:cNvPr id="15" name="Picture 12"/>
            <p:cNvPicPr>
              <a:picLocks noChangeAspect="1"/>
            </p:cNvPicPr>
            <p:nvPr/>
          </p:nvPicPr>
          <p:blipFill>
            <a:blip r:embed="rId4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2848917" y="4416131"/>
              <a:ext cx="360672" cy="532913"/>
            </a:xfrm>
            <a:prstGeom prst="rect">
              <a:avLst/>
            </a:prstGeom>
          </p:spPr>
        </p:pic>
      </p:grpSp>
      <p:sp>
        <p:nvSpPr>
          <p:cNvPr id="16" name="文本框 15"/>
          <p:cNvSpPr txBox="1"/>
          <p:nvPr/>
        </p:nvSpPr>
        <p:spPr>
          <a:xfrm>
            <a:off x="4069793" y="2174183"/>
            <a:ext cx="61940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顺丰科技顺丰科技</a:t>
            </a: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4069793" y="4162832"/>
            <a:ext cx="61940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顺丰科技顺丰科技</a:t>
            </a: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482249" y="3764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6260586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椭圆 1"/>
          <p:cNvSpPr/>
          <p:nvPr/>
        </p:nvSpPr>
        <p:spPr>
          <a:xfrm>
            <a:off x="810394" y="2248849"/>
            <a:ext cx="2218375" cy="2218375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任意多边形 2"/>
          <p:cNvSpPr/>
          <p:nvPr/>
        </p:nvSpPr>
        <p:spPr>
          <a:xfrm flipH="1">
            <a:off x="823044" y="2248849"/>
            <a:ext cx="1097020" cy="2215923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椭圆 3"/>
          <p:cNvSpPr/>
          <p:nvPr/>
        </p:nvSpPr>
        <p:spPr>
          <a:xfrm>
            <a:off x="3615506" y="2246397"/>
            <a:ext cx="2218375" cy="2218375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任意多边形 4"/>
          <p:cNvSpPr/>
          <p:nvPr/>
        </p:nvSpPr>
        <p:spPr>
          <a:xfrm flipH="1">
            <a:off x="3628156" y="2246397"/>
            <a:ext cx="1097020" cy="2215923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/>
        </p:nvSpPr>
        <p:spPr>
          <a:xfrm>
            <a:off x="6420619" y="2248849"/>
            <a:ext cx="2218375" cy="2218375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任意多边形 6"/>
          <p:cNvSpPr/>
          <p:nvPr/>
        </p:nvSpPr>
        <p:spPr>
          <a:xfrm flipH="1">
            <a:off x="6433269" y="2248849"/>
            <a:ext cx="1097020" cy="2215923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椭圆 7"/>
          <p:cNvSpPr/>
          <p:nvPr/>
        </p:nvSpPr>
        <p:spPr>
          <a:xfrm>
            <a:off x="9225731" y="2248849"/>
            <a:ext cx="2218375" cy="2218375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任意多边形 8"/>
          <p:cNvSpPr/>
          <p:nvPr/>
        </p:nvSpPr>
        <p:spPr>
          <a:xfrm flipH="1">
            <a:off x="9238381" y="2248849"/>
            <a:ext cx="1097020" cy="2215923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半闭框 9"/>
          <p:cNvSpPr/>
          <p:nvPr/>
        </p:nvSpPr>
        <p:spPr>
          <a:xfrm rot="8093902">
            <a:off x="2909405" y="3120995"/>
            <a:ext cx="466725" cy="466725"/>
          </a:xfrm>
          <a:prstGeom prst="halfFrame">
            <a:avLst>
              <a:gd name="adj1" fmla="val 17963"/>
              <a:gd name="adj2" fmla="val 1863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1" name="半闭框 10"/>
          <p:cNvSpPr/>
          <p:nvPr/>
        </p:nvSpPr>
        <p:spPr>
          <a:xfrm rot="8093902">
            <a:off x="5750632" y="3120997"/>
            <a:ext cx="466725" cy="466725"/>
          </a:xfrm>
          <a:prstGeom prst="halfFrame">
            <a:avLst>
              <a:gd name="adj1" fmla="val 17963"/>
              <a:gd name="adj2" fmla="val 1863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" name="半闭框 11"/>
          <p:cNvSpPr/>
          <p:nvPr/>
        </p:nvSpPr>
        <p:spPr>
          <a:xfrm rot="8093902">
            <a:off x="8572809" y="3120995"/>
            <a:ext cx="466725" cy="466725"/>
          </a:xfrm>
          <a:prstGeom prst="halfFrame">
            <a:avLst>
              <a:gd name="adj1" fmla="val 17963"/>
              <a:gd name="adj2" fmla="val 1863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3" name="椭圆 12"/>
          <p:cNvSpPr/>
          <p:nvPr/>
        </p:nvSpPr>
        <p:spPr>
          <a:xfrm>
            <a:off x="1389524" y="5191125"/>
            <a:ext cx="152400" cy="1524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1541923" y="5102132"/>
            <a:ext cx="41120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椭圆 15"/>
          <p:cNvSpPr/>
          <p:nvPr/>
        </p:nvSpPr>
        <p:spPr>
          <a:xfrm>
            <a:off x="6552074" y="5191125"/>
            <a:ext cx="152400" cy="152400"/>
          </a:xfrm>
          <a:prstGeom prst="ellipse">
            <a:avLst/>
          </a:pr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文本框 16"/>
          <p:cNvSpPr txBox="1"/>
          <p:nvPr/>
        </p:nvSpPr>
        <p:spPr>
          <a:xfrm>
            <a:off x="6704473" y="5102132"/>
            <a:ext cx="41120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1" name="Group 416"/>
          <p:cNvGrpSpPr>
            <a:grpSpLocks noChangeAspect="1"/>
          </p:cNvGrpSpPr>
          <p:nvPr/>
        </p:nvGrpSpPr>
        <p:grpSpPr>
          <a:xfrm>
            <a:off x="9745883" y="2569067"/>
            <a:ext cx="1070637" cy="1378027"/>
            <a:chOff x="-2773363" y="1651000"/>
            <a:chExt cx="2692401" cy="3448051"/>
          </a:xfrm>
          <a:solidFill>
            <a:schemeClr val="bg1">
              <a:lumMod val="95000"/>
            </a:schemeClr>
          </a:solidFill>
        </p:grpSpPr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-1908175" y="1798638"/>
              <a:ext cx="641350" cy="641350"/>
            </a:xfrm>
            <a:custGeom>
              <a:avLst/>
              <a:gdLst>
                <a:gd name="T0" fmla="*/ 171 w 171"/>
                <a:gd name="T1" fmla="*/ 79 h 171"/>
                <a:gd name="T2" fmla="*/ 168 w 171"/>
                <a:gd name="T3" fmla="*/ 77 h 171"/>
                <a:gd name="T4" fmla="*/ 152 w 171"/>
                <a:gd name="T5" fmla="*/ 65 h 171"/>
                <a:gd name="T6" fmla="*/ 165 w 171"/>
                <a:gd name="T7" fmla="*/ 54 h 171"/>
                <a:gd name="T8" fmla="*/ 161 w 171"/>
                <a:gd name="T9" fmla="*/ 52 h 171"/>
                <a:gd name="T10" fmla="*/ 142 w 171"/>
                <a:gd name="T11" fmla="*/ 45 h 171"/>
                <a:gd name="T12" fmla="*/ 152 w 171"/>
                <a:gd name="T13" fmla="*/ 32 h 171"/>
                <a:gd name="T14" fmla="*/ 147 w 171"/>
                <a:gd name="T15" fmla="*/ 30 h 171"/>
                <a:gd name="T16" fmla="*/ 127 w 171"/>
                <a:gd name="T17" fmla="*/ 30 h 171"/>
                <a:gd name="T18" fmla="*/ 132 w 171"/>
                <a:gd name="T19" fmla="*/ 15 h 171"/>
                <a:gd name="T20" fmla="*/ 127 w 171"/>
                <a:gd name="T21" fmla="*/ 14 h 171"/>
                <a:gd name="T22" fmla="*/ 108 w 171"/>
                <a:gd name="T23" fmla="*/ 20 h 171"/>
                <a:gd name="T24" fmla="*/ 108 w 171"/>
                <a:gd name="T25" fmla="*/ 5 h 171"/>
                <a:gd name="T26" fmla="*/ 103 w 171"/>
                <a:gd name="T27" fmla="*/ 4 h 171"/>
                <a:gd name="T28" fmla="*/ 86 w 171"/>
                <a:gd name="T29" fmla="*/ 16 h 171"/>
                <a:gd name="T30" fmla="*/ 79 w 171"/>
                <a:gd name="T31" fmla="*/ 0 h 171"/>
                <a:gd name="T32" fmla="*/ 77 w 171"/>
                <a:gd name="T33" fmla="*/ 3 h 171"/>
                <a:gd name="T34" fmla="*/ 65 w 171"/>
                <a:gd name="T35" fmla="*/ 19 h 171"/>
                <a:gd name="T36" fmla="*/ 53 w 171"/>
                <a:gd name="T37" fmla="*/ 6 h 171"/>
                <a:gd name="T38" fmla="*/ 52 w 171"/>
                <a:gd name="T39" fmla="*/ 10 h 171"/>
                <a:gd name="T40" fmla="*/ 45 w 171"/>
                <a:gd name="T41" fmla="*/ 29 h 171"/>
                <a:gd name="T42" fmla="*/ 30 w 171"/>
                <a:gd name="T43" fmla="*/ 20 h 171"/>
                <a:gd name="T44" fmla="*/ 30 w 171"/>
                <a:gd name="T45" fmla="*/ 24 h 171"/>
                <a:gd name="T46" fmla="*/ 30 w 171"/>
                <a:gd name="T47" fmla="*/ 44 h 171"/>
                <a:gd name="T48" fmla="*/ 13 w 171"/>
                <a:gd name="T49" fmla="*/ 40 h 171"/>
                <a:gd name="T50" fmla="*/ 14 w 171"/>
                <a:gd name="T51" fmla="*/ 44 h 171"/>
                <a:gd name="T52" fmla="*/ 20 w 171"/>
                <a:gd name="T53" fmla="*/ 63 h 171"/>
                <a:gd name="T54" fmla="*/ 2 w 171"/>
                <a:gd name="T55" fmla="*/ 65 h 171"/>
                <a:gd name="T56" fmla="*/ 4 w 171"/>
                <a:gd name="T57" fmla="*/ 68 h 171"/>
                <a:gd name="T58" fmla="*/ 16 w 171"/>
                <a:gd name="T59" fmla="*/ 84 h 171"/>
                <a:gd name="T60" fmla="*/ 0 w 171"/>
                <a:gd name="T61" fmla="*/ 91 h 171"/>
                <a:gd name="T62" fmla="*/ 3 w 171"/>
                <a:gd name="T63" fmla="*/ 94 h 171"/>
                <a:gd name="T64" fmla="*/ 19 w 171"/>
                <a:gd name="T65" fmla="*/ 106 h 171"/>
                <a:gd name="T66" fmla="*/ 6 w 171"/>
                <a:gd name="T67" fmla="*/ 116 h 171"/>
                <a:gd name="T68" fmla="*/ 10 w 171"/>
                <a:gd name="T69" fmla="*/ 119 h 171"/>
                <a:gd name="T70" fmla="*/ 29 w 171"/>
                <a:gd name="T71" fmla="*/ 125 h 171"/>
                <a:gd name="T72" fmla="*/ 19 w 171"/>
                <a:gd name="T73" fmla="*/ 139 h 171"/>
                <a:gd name="T74" fmla="*/ 24 w 171"/>
                <a:gd name="T75" fmla="*/ 141 h 171"/>
                <a:gd name="T76" fmla="*/ 44 w 171"/>
                <a:gd name="T77" fmla="*/ 141 h 171"/>
                <a:gd name="T78" fmla="*/ 39 w 171"/>
                <a:gd name="T79" fmla="*/ 156 h 171"/>
                <a:gd name="T80" fmla="*/ 44 w 171"/>
                <a:gd name="T81" fmla="*/ 157 h 171"/>
                <a:gd name="T82" fmla="*/ 63 w 171"/>
                <a:gd name="T83" fmla="*/ 151 h 171"/>
                <a:gd name="T84" fmla="*/ 63 w 171"/>
                <a:gd name="T85" fmla="*/ 166 h 171"/>
                <a:gd name="T86" fmla="*/ 68 w 171"/>
                <a:gd name="T87" fmla="*/ 166 h 171"/>
                <a:gd name="T88" fmla="*/ 85 w 171"/>
                <a:gd name="T89" fmla="*/ 155 h 171"/>
                <a:gd name="T90" fmla="*/ 91 w 171"/>
                <a:gd name="T91" fmla="*/ 171 h 171"/>
                <a:gd name="T92" fmla="*/ 94 w 171"/>
                <a:gd name="T93" fmla="*/ 168 h 171"/>
                <a:gd name="T94" fmla="*/ 96 w 171"/>
                <a:gd name="T95" fmla="*/ 154 h 171"/>
                <a:gd name="T96" fmla="*/ 114 w 171"/>
                <a:gd name="T97" fmla="*/ 163 h 171"/>
                <a:gd name="T98" fmla="*/ 119 w 171"/>
                <a:gd name="T99" fmla="*/ 162 h 171"/>
                <a:gd name="T100" fmla="*/ 117 w 171"/>
                <a:gd name="T101" fmla="*/ 147 h 171"/>
                <a:gd name="T102" fmla="*/ 137 w 171"/>
                <a:gd name="T103" fmla="*/ 150 h 171"/>
                <a:gd name="T104" fmla="*/ 142 w 171"/>
                <a:gd name="T105" fmla="*/ 149 h 171"/>
                <a:gd name="T106" fmla="*/ 135 w 171"/>
                <a:gd name="T107" fmla="*/ 134 h 171"/>
                <a:gd name="T108" fmla="*/ 154 w 171"/>
                <a:gd name="T109" fmla="*/ 131 h 171"/>
                <a:gd name="T110" fmla="*/ 159 w 171"/>
                <a:gd name="T111" fmla="*/ 129 h 171"/>
                <a:gd name="T112" fmla="*/ 147 w 171"/>
                <a:gd name="T113" fmla="*/ 117 h 171"/>
                <a:gd name="T114" fmla="*/ 165 w 171"/>
                <a:gd name="T115" fmla="*/ 108 h 171"/>
                <a:gd name="T116" fmla="*/ 169 w 171"/>
                <a:gd name="T117" fmla="*/ 105 h 171"/>
                <a:gd name="T118" fmla="*/ 154 w 171"/>
                <a:gd name="T119" fmla="*/ 96 h 171"/>
                <a:gd name="T120" fmla="*/ 168 w 171"/>
                <a:gd name="T121" fmla="*/ 82 h 171"/>
                <a:gd name="T122" fmla="*/ 70 w 171"/>
                <a:gd name="T123" fmla="*/ 85 h 171"/>
                <a:gd name="T124" fmla="*/ 101 w 171"/>
                <a:gd name="T125" fmla="*/ 8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1" h="171">
                  <a:moveTo>
                    <a:pt x="168" y="82"/>
                  </a:moveTo>
                  <a:cubicBezTo>
                    <a:pt x="170" y="82"/>
                    <a:pt x="171" y="81"/>
                    <a:pt x="171" y="79"/>
                  </a:cubicBezTo>
                  <a:cubicBezTo>
                    <a:pt x="171" y="79"/>
                    <a:pt x="171" y="79"/>
                    <a:pt x="171" y="79"/>
                  </a:cubicBezTo>
                  <a:cubicBezTo>
                    <a:pt x="171" y="78"/>
                    <a:pt x="169" y="77"/>
                    <a:pt x="168" y="77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4" y="71"/>
                    <a:pt x="153" y="68"/>
                    <a:pt x="152" y="65"/>
                  </a:cubicBezTo>
                  <a:cubicBezTo>
                    <a:pt x="163" y="57"/>
                    <a:pt x="163" y="57"/>
                    <a:pt x="163" y="57"/>
                  </a:cubicBezTo>
                  <a:cubicBezTo>
                    <a:pt x="164" y="56"/>
                    <a:pt x="165" y="55"/>
                    <a:pt x="165" y="54"/>
                  </a:cubicBezTo>
                  <a:cubicBezTo>
                    <a:pt x="165" y="54"/>
                    <a:pt x="165" y="53"/>
                    <a:pt x="165" y="53"/>
                  </a:cubicBezTo>
                  <a:cubicBezTo>
                    <a:pt x="164" y="52"/>
                    <a:pt x="163" y="51"/>
                    <a:pt x="161" y="52"/>
                  </a:cubicBezTo>
                  <a:cubicBezTo>
                    <a:pt x="147" y="54"/>
                    <a:pt x="147" y="54"/>
                    <a:pt x="147" y="54"/>
                  </a:cubicBezTo>
                  <a:cubicBezTo>
                    <a:pt x="146" y="51"/>
                    <a:pt x="144" y="48"/>
                    <a:pt x="142" y="45"/>
                  </a:cubicBezTo>
                  <a:cubicBezTo>
                    <a:pt x="151" y="34"/>
                    <a:pt x="151" y="34"/>
                    <a:pt x="151" y="34"/>
                  </a:cubicBezTo>
                  <a:cubicBezTo>
                    <a:pt x="151" y="34"/>
                    <a:pt x="152" y="33"/>
                    <a:pt x="152" y="32"/>
                  </a:cubicBezTo>
                  <a:cubicBezTo>
                    <a:pt x="152" y="31"/>
                    <a:pt x="151" y="31"/>
                    <a:pt x="151" y="30"/>
                  </a:cubicBezTo>
                  <a:cubicBezTo>
                    <a:pt x="150" y="29"/>
                    <a:pt x="148" y="29"/>
                    <a:pt x="147" y="30"/>
                  </a:cubicBezTo>
                  <a:cubicBezTo>
                    <a:pt x="135" y="36"/>
                    <a:pt x="135" y="36"/>
                    <a:pt x="135" y="36"/>
                  </a:cubicBezTo>
                  <a:cubicBezTo>
                    <a:pt x="132" y="34"/>
                    <a:pt x="130" y="32"/>
                    <a:pt x="127" y="30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2" y="16"/>
                    <a:pt x="132" y="16"/>
                    <a:pt x="132" y="15"/>
                  </a:cubicBezTo>
                  <a:cubicBezTo>
                    <a:pt x="132" y="14"/>
                    <a:pt x="132" y="13"/>
                    <a:pt x="131" y="13"/>
                  </a:cubicBezTo>
                  <a:cubicBezTo>
                    <a:pt x="129" y="12"/>
                    <a:pt x="128" y="12"/>
                    <a:pt x="127" y="14"/>
                  </a:cubicBezTo>
                  <a:cubicBezTo>
                    <a:pt x="117" y="23"/>
                    <a:pt x="117" y="23"/>
                    <a:pt x="117" y="23"/>
                  </a:cubicBezTo>
                  <a:cubicBezTo>
                    <a:pt x="114" y="22"/>
                    <a:pt x="111" y="21"/>
                    <a:pt x="108" y="20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4"/>
                    <a:pt x="107" y="3"/>
                    <a:pt x="106" y="2"/>
                  </a:cubicBezTo>
                  <a:cubicBezTo>
                    <a:pt x="105" y="2"/>
                    <a:pt x="103" y="3"/>
                    <a:pt x="103" y="4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3" y="16"/>
                    <a:pt x="90" y="16"/>
                    <a:pt x="86" y="16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2" y="1"/>
                    <a:pt x="81" y="0"/>
                    <a:pt x="79" y="0"/>
                  </a:cubicBezTo>
                  <a:cubicBezTo>
                    <a:pt x="78" y="0"/>
                    <a:pt x="77" y="1"/>
                    <a:pt x="77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1" y="17"/>
                    <a:pt x="68" y="18"/>
                    <a:pt x="65" y="19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56" y="6"/>
                    <a:pt x="55" y="5"/>
                    <a:pt x="53" y="6"/>
                  </a:cubicBezTo>
                  <a:cubicBezTo>
                    <a:pt x="52" y="6"/>
                    <a:pt x="52" y="7"/>
                    <a:pt x="52" y="9"/>
                  </a:cubicBezTo>
                  <a:cubicBezTo>
                    <a:pt x="52" y="9"/>
                    <a:pt x="52" y="9"/>
                    <a:pt x="52" y="10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1" y="25"/>
                    <a:pt x="48" y="27"/>
                    <a:pt x="45" y="2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3" y="19"/>
                    <a:pt x="32" y="19"/>
                    <a:pt x="30" y="20"/>
                  </a:cubicBezTo>
                  <a:cubicBezTo>
                    <a:pt x="30" y="20"/>
                    <a:pt x="29" y="21"/>
                    <a:pt x="29" y="22"/>
                  </a:cubicBezTo>
                  <a:cubicBezTo>
                    <a:pt x="29" y="23"/>
                    <a:pt x="30" y="23"/>
                    <a:pt x="30" y="24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4" y="39"/>
                    <a:pt x="32" y="41"/>
                    <a:pt x="30" y="44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5" y="38"/>
                    <a:pt x="14" y="39"/>
                    <a:pt x="13" y="40"/>
                  </a:cubicBezTo>
                  <a:cubicBezTo>
                    <a:pt x="13" y="41"/>
                    <a:pt x="12" y="41"/>
                    <a:pt x="12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2" y="57"/>
                    <a:pt x="21" y="60"/>
                    <a:pt x="20" y="63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4" y="62"/>
                    <a:pt x="3" y="63"/>
                    <a:pt x="2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67"/>
                    <a:pt x="3" y="68"/>
                    <a:pt x="4" y="68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6" y="78"/>
                    <a:pt x="16" y="81"/>
                    <a:pt x="16" y="84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1" y="89"/>
                    <a:pt x="0" y="90"/>
                    <a:pt x="0" y="9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93"/>
                    <a:pt x="2" y="94"/>
                    <a:pt x="3" y="94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9"/>
                    <a:pt x="18" y="103"/>
                    <a:pt x="19" y="106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7" y="114"/>
                    <a:pt x="6" y="115"/>
                    <a:pt x="6" y="116"/>
                  </a:cubicBezTo>
                  <a:cubicBezTo>
                    <a:pt x="6" y="117"/>
                    <a:pt x="6" y="117"/>
                    <a:pt x="6" y="118"/>
                  </a:cubicBezTo>
                  <a:cubicBezTo>
                    <a:pt x="7" y="119"/>
                    <a:pt x="8" y="120"/>
                    <a:pt x="10" y="119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25" y="120"/>
                    <a:pt x="27" y="123"/>
                    <a:pt x="29" y="125"/>
                  </a:cubicBezTo>
                  <a:cubicBezTo>
                    <a:pt x="20" y="137"/>
                    <a:pt x="20" y="137"/>
                    <a:pt x="20" y="137"/>
                  </a:cubicBezTo>
                  <a:cubicBezTo>
                    <a:pt x="20" y="137"/>
                    <a:pt x="19" y="138"/>
                    <a:pt x="19" y="139"/>
                  </a:cubicBezTo>
                  <a:cubicBezTo>
                    <a:pt x="19" y="139"/>
                    <a:pt x="20" y="140"/>
                    <a:pt x="20" y="140"/>
                  </a:cubicBezTo>
                  <a:cubicBezTo>
                    <a:pt x="21" y="142"/>
                    <a:pt x="23" y="142"/>
                    <a:pt x="24" y="141"/>
                  </a:cubicBezTo>
                  <a:cubicBezTo>
                    <a:pt x="36" y="134"/>
                    <a:pt x="36" y="134"/>
                    <a:pt x="36" y="134"/>
                  </a:cubicBezTo>
                  <a:cubicBezTo>
                    <a:pt x="39" y="137"/>
                    <a:pt x="41" y="139"/>
                    <a:pt x="44" y="141"/>
                  </a:cubicBezTo>
                  <a:cubicBezTo>
                    <a:pt x="39" y="154"/>
                    <a:pt x="39" y="154"/>
                    <a:pt x="39" y="154"/>
                  </a:cubicBezTo>
                  <a:cubicBezTo>
                    <a:pt x="39" y="155"/>
                    <a:pt x="39" y="155"/>
                    <a:pt x="39" y="156"/>
                  </a:cubicBezTo>
                  <a:cubicBezTo>
                    <a:pt x="39" y="157"/>
                    <a:pt x="39" y="157"/>
                    <a:pt x="40" y="158"/>
                  </a:cubicBezTo>
                  <a:cubicBezTo>
                    <a:pt x="42" y="159"/>
                    <a:pt x="43" y="158"/>
                    <a:pt x="44" y="157"/>
                  </a:cubicBezTo>
                  <a:cubicBezTo>
                    <a:pt x="54" y="147"/>
                    <a:pt x="54" y="147"/>
                    <a:pt x="54" y="147"/>
                  </a:cubicBezTo>
                  <a:cubicBezTo>
                    <a:pt x="57" y="149"/>
                    <a:pt x="60" y="150"/>
                    <a:pt x="63" y="151"/>
                  </a:cubicBezTo>
                  <a:cubicBezTo>
                    <a:pt x="63" y="165"/>
                    <a:pt x="63" y="165"/>
                    <a:pt x="63" y="165"/>
                  </a:cubicBezTo>
                  <a:cubicBezTo>
                    <a:pt x="63" y="165"/>
                    <a:pt x="63" y="166"/>
                    <a:pt x="63" y="166"/>
                  </a:cubicBezTo>
                  <a:cubicBezTo>
                    <a:pt x="63" y="167"/>
                    <a:pt x="64" y="168"/>
                    <a:pt x="65" y="168"/>
                  </a:cubicBezTo>
                  <a:cubicBezTo>
                    <a:pt x="66" y="169"/>
                    <a:pt x="68" y="168"/>
                    <a:pt x="68" y="16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8" y="154"/>
                    <a:pt x="81" y="155"/>
                    <a:pt x="85" y="155"/>
                  </a:cubicBezTo>
                  <a:cubicBezTo>
                    <a:pt x="89" y="168"/>
                    <a:pt x="89" y="168"/>
                    <a:pt x="89" y="168"/>
                  </a:cubicBezTo>
                  <a:cubicBezTo>
                    <a:pt x="89" y="170"/>
                    <a:pt x="90" y="171"/>
                    <a:pt x="91" y="171"/>
                  </a:cubicBezTo>
                  <a:cubicBezTo>
                    <a:pt x="91" y="171"/>
                    <a:pt x="92" y="171"/>
                    <a:pt x="92" y="171"/>
                  </a:cubicBezTo>
                  <a:cubicBezTo>
                    <a:pt x="93" y="171"/>
                    <a:pt x="94" y="169"/>
                    <a:pt x="94" y="168"/>
                  </a:cubicBezTo>
                  <a:cubicBezTo>
                    <a:pt x="94" y="168"/>
                    <a:pt x="94" y="168"/>
                    <a:pt x="94" y="168"/>
                  </a:cubicBezTo>
                  <a:cubicBezTo>
                    <a:pt x="96" y="154"/>
                    <a:pt x="96" y="154"/>
                    <a:pt x="96" y="154"/>
                  </a:cubicBezTo>
                  <a:cubicBezTo>
                    <a:pt x="100" y="153"/>
                    <a:pt x="103" y="153"/>
                    <a:pt x="106" y="152"/>
                  </a:cubicBezTo>
                  <a:cubicBezTo>
                    <a:pt x="114" y="163"/>
                    <a:pt x="114" y="163"/>
                    <a:pt x="114" y="163"/>
                  </a:cubicBezTo>
                  <a:cubicBezTo>
                    <a:pt x="115" y="165"/>
                    <a:pt x="116" y="165"/>
                    <a:pt x="118" y="165"/>
                  </a:cubicBezTo>
                  <a:cubicBezTo>
                    <a:pt x="119" y="164"/>
                    <a:pt x="119" y="163"/>
                    <a:pt x="119" y="162"/>
                  </a:cubicBezTo>
                  <a:cubicBezTo>
                    <a:pt x="119" y="162"/>
                    <a:pt x="119" y="161"/>
                    <a:pt x="119" y="161"/>
                  </a:cubicBezTo>
                  <a:cubicBezTo>
                    <a:pt x="117" y="147"/>
                    <a:pt x="117" y="147"/>
                    <a:pt x="117" y="147"/>
                  </a:cubicBezTo>
                  <a:cubicBezTo>
                    <a:pt x="120" y="146"/>
                    <a:pt x="123" y="144"/>
                    <a:pt x="126" y="142"/>
                  </a:cubicBezTo>
                  <a:cubicBezTo>
                    <a:pt x="137" y="150"/>
                    <a:pt x="137" y="150"/>
                    <a:pt x="137" y="150"/>
                  </a:cubicBezTo>
                  <a:cubicBezTo>
                    <a:pt x="138" y="152"/>
                    <a:pt x="139" y="152"/>
                    <a:pt x="141" y="151"/>
                  </a:cubicBezTo>
                  <a:cubicBezTo>
                    <a:pt x="141" y="150"/>
                    <a:pt x="142" y="149"/>
                    <a:pt x="142" y="149"/>
                  </a:cubicBezTo>
                  <a:cubicBezTo>
                    <a:pt x="142" y="148"/>
                    <a:pt x="141" y="147"/>
                    <a:pt x="141" y="147"/>
                  </a:cubicBezTo>
                  <a:cubicBezTo>
                    <a:pt x="135" y="134"/>
                    <a:pt x="135" y="134"/>
                    <a:pt x="135" y="134"/>
                  </a:cubicBezTo>
                  <a:cubicBezTo>
                    <a:pt x="137" y="132"/>
                    <a:pt x="139" y="130"/>
                    <a:pt x="141" y="127"/>
                  </a:cubicBezTo>
                  <a:cubicBezTo>
                    <a:pt x="154" y="131"/>
                    <a:pt x="154" y="131"/>
                    <a:pt x="154" y="131"/>
                  </a:cubicBezTo>
                  <a:cubicBezTo>
                    <a:pt x="156" y="132"/>
                    <a:pt x="157" y="132"/>
                    <a:pt x="158" y="131"/>
                  </a:cubicBezTo>
                  <a:cubicBezTo>
                    <a:pt x="158" y="130"/>
                    <a:pt x="159" y="130"/>
                    <a:pt x="159" y="129"/>
                  </a:cubicBezTo>
                  <a:cubicBezTo>
                    <a:pt x="159" y="128"/>
                    <a:pt x="158" y="127"/>
                    <a:pt x="157" y="127"/>
                  </a:cubicBezTo>
                  <a:cubicBezTo>
                    <a:pt x="147" y="117"/>
                    <a:pt x="147" y="117"/>
                    <a:pt x="147" y="117"/>
                  </a:cubicBezTo>
                  <a:cubicBezTo>
                    <a:pt x="149" y="114"/>
                    <a:pt x="150" y="111"/>
                    <a:pt x="151" y="108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7" y="108"/>
                    <a:pt x="168" y="107"/>
                    <a:pt x="169" y="106"/>
                  </a:cubicBezTo>
                  <a:cubicBezTo>
                    <a:pt x="169" y="106"/>
                    <a:pt x="169" y="105"/>
                    <a:pt x="169" y="105"/>
                  </a:cubicBezTo>
                  <a:cubicBezTo>
                    <a:pt x="169" y="104"/>
                    <a:pt x="168" y="103"/>
                    <a:pt x="167" y="103"/>
                  </a:cubicBezTo>
                  <a:cubicBezTo>
                    <a:pt x="154" y="96"/>
                    <a:pt x="154" y="96"/>
                    <a:pt x="154" y="96"/>
                  </a:cubicBezTo>
                  <a:cubicBezTo>
                    <a:pt x="155" y="93"/>
                    <a:pt x="155" y="90"/>
                    <a:pt x="155" y="86"/>
                  </a:cubicBezTo>
                  <a:lnTo>
                    <a:pt x="168" y="82"/>
                  </a:lnTo>
                  <a:close/>
                  <a:moveTo>
                    <a:pt x="86" y="101"/>
                  </a:moveTo>
                  <a:cubicBezTo>
                    <a:pt x="77" y="101"/>
                    <a:pt x="70" y="94"/>
                    <a:pt x="70" y="85"/>
                  </a:cubicBezTo>
                  <a:cubicBezTo>
                    <a:pt x="70" y="77"/>
                    <a:pt x="77" y="70"/>
                    <a:pt x="86" y="70"/>
                  </a:cubicBezTo>
                  <a:cubicBezTo>
                    <a:pt x="94" y="70"/>
                    <a:pt x="101" y="77"/>
                    <a:pt x="101" y="85"/>
                  </a:cubicBezTo>
                  <a:cubicBezTo>
                    <a:pt x="101" y="94"/>
                    <a:pt x="94" y="101"/>
                    <a:pt x="86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0"/>
            <p:cNvSpPr>
              <a:spLocks noEditPoints="1"/>
            </p:cNvSpPr>
            <p:nvPr/>
          </p:nvSpPr>
          <p:spPr bwMode="auto">
            <a:xfrm>
              <a:off x="-1333500" y="1651000"/>
              <a:ext cx="454025" cy="454025"/>
            </a:xfrm>
            <a:custGeom>
              <a:avLst/>
              <a:gdLst>
                <a:gd name="T0" fmla="*/ 121 w 121"/>
                <a:gd name="T1" fmla="*/ 56 h 121"/>
                <a:gd name="T2" fmla="*/ 119 w 121"/>
                <a:gd name="T3" fmla="*/ 54 h 121"/>
                <a:gd name="T4" fmla="*/ 108 w 121"/>
                <a:gd name="T5" fmla="*/ 46 h 121"/>
                <a:gd name="T6" fmla="*/ 117 w 121"/>
                <a:gd name="T7" fmla="*/ 38 h 121"/>
                <a:gd name="T8" fmla="*/ 115 w 121"/>
                <a:gd name="T9" fmla="*/ 37 h 121"/>
                <a:gd name="T10" fmla="*/ 101 w 121"/>
                <a:gd name="T11" fmla="*/ 32 h 121"/>
                <a:gd name="T12" fmla="*/ 108 w 121"/>
                <a:gd name="T13" fmla="*/ 23 h 121"/>
                <a:gd name="T14" fmla="*/ 105 w 121"/>
                <a:gd name="T15" fmla="*/ 21 h 121"/>
                <a:gd name="T16" fmla="*/ 90 w 121"/>
                <a:gd name="T17" fmla="*/ 21 h 121"/>
                <a:gd name="T18" fmla="*/ 94 w 121"/>
                <a:gd name="T19" fmla="*/ 11 h 121"/>
                <a:gd name="T20" fmla="*/ 90 w 121"/>
                <a:gd name="T21" fmla="*/ 10 h 121"/>
                <a:gd name="T22" fmla="*/ 77 w 121"/>
                <a:gd name="T23" fmla="*/ 14 h 121"/>
                <a:gd name="T24" fmla="*/ 77 w 121"/>
                <a:gd name="T25" fmla="*/ 3 h 121"/>
                <a:gd name="T26" fmla="*/ 73 w 121"/>
                <a:gd name="T27" fmla="*/ 3 h 121"/>
                <a:gd name="T28" fmla="*/ 61 w 121"/>
                <a:gd name="T29" fmla="*/ 11 h 121"/>
                <a:gd name="T30" fmla="*/ 56 w 121"/>
                <a:gd name="T31" fmla="*/ 0 h 121"/>
                <a:gd name="T32" fmla="*/ 55 w 121"/>
                <a:gd name="T33" fmla="*/ 2 h 121"/>
                <a:gd name="T34" fmla="*/ 46 w 121"/>
                <a:gd name="T35" fmla="*/ 13 h 121"/>
                <a:gd name="T36" fmla="*/ 38 w 121"/>
                <a:gd name="T37" fmla="*/ 4 h 121"/>
                <a:gd name="T38" fmla="*/ 37 w 121"/>
                <a:gd name="T39" fmla="*/ 7 h 121"/>
                <a:gd name="T40" fmla="*/ 32 w 121"/>
                <a:gd name="T41" fmla="*/ 20 h 121"/>
                <a:gd name="T42" fmla="*/ 22 w 121"/>
                <a:gd name="T43" fmla="*/ 14 h 121"/>
                <a:gd name="T44" fmla="*/ 21 w 121"/>
                <a:gd name="T45" fmla="*/ 17 h 121"/>
                <a:gd name="T46" fmla="*/ 21 w 121"/>
                <a:gd name="T47" fmla="*/ 31 h 121"/>
                <a:gd name="T48" fmla="*/ 9 w 121"/>
                <a:gd name="T49" fmla="*/ 28 h 121"/>
                <a:gd name="T50" fmla="*/ 10 w 121"/>
                <a:gd name="T51" fmla="*/ 31 h 121"/>
                <a:gd name="T52" fmla="*/ 14 w 121"/>
                <a:gd name="T53" fmla="*/ 45 h 121"/>
                <a:gd name="T54" fmla="*/ 2 w 121"/>
                <a:gd name="T55" fmla="*/ 46 h 121"/>
                <a:gd name="T56" fmla="*/ 3 w 121"/>
                <a:gd name="T57" fmla="*/ 48 h 121"/>
                <a:gd name="T58" fmla="*/ 11 w 121"/>
                <a:gd name="T59" fmla="*/ 60 h 121"/>
                <a:gd name="T60" fmla="*/ 0 w 121"/>
                <a:gd name="T61" fmla="*/ 65 h 121"/>
                <a:gd name="T62" fmla="*/ 2 w 121"/>
                <a:gd name="T63" fmla="*/ 67 h 121"/>
                <a:gd name="T64" fmla="*/ 14 w 121"/>
                <a:gd name="T65" fmla="*/ 75 h 121"/>
                <a:gd name="T66" fmla="*/ 4 w 121"/>
                <a:gd name="T67" fmla="*/ 83 h 121"/>
                <a:gd name="T68" fmla="*/ 7 w 121"/>
                <a:gd name="T69" fmla="*/ 84 h 121"/>
                <a:gd name="T70" fmla="*/ 20 w 121"/>
                <a:gd name="T71" fmla="*/ 89 h 121"/>
                <a:gd name="T72" fmla="*/ 14 w 121"/>
                <a:gd name="T73" fmla="*/ 98 h 121"/>
                <a:gd name="T74" fmla="*/ 17 w 121"/>
                <a:gd name="T75" fmla="*/ 100 h 121"/>
                <a:gd name="T76" fmla="*/ 31 w 121"/>
                <a:gd name="T77" fmla="*/ 100 h 121"/>
                <a:gd name="T78" fmla="*/ 28 w 121"/>
                <a:gd name="T79" fmla="*/ 110 h 121"/>
                <a:gd name="T80" fmla="*/ 31 w 121"/>
                <a:gd name="T81" fmla="*/ 112 h 121"/>
                <a:gd name="T82" fmla="*/ 45 w 121"/>
                <a:gd name="T83" fmla="*/ 107 h 121"/>
                <a:gd name="T84" fmla="*/ 45 w 121"/>
                <a:gd name="T85" fmla="*/ 118 h 121"/>
                <a:gd name="T86" fmla="*/ 49 w 121"/>
                <a:gd name="T87" fmla="*/ 118 h 121"/>
                <a:gd name="T88" fmla="*/ 60 w 121"/>
                <a:gd name="T89" fmla="*/ 110 h 121"/>
                <a:gd name="T90" fmla="*/ 65 w 121"/>
                <a:gd name="T91" fmla="*/ 121 h 121"/>
                <a:gd name="T92" fmla="*/ 67 w 121"/>
                <a:gd name="T93" fmla="*/ 119 h 121"/>
                <a:gd name="T94" fmla="*/ 68 w 121"/>
                <a:gd name="T95" fmla="*/ 109 h 121"/>
                <a:gd name="T96" fmla="*/ 81 w 121"/>
                <a:gd name="T97" fmla="*/ 116 h 121"/>
                <a:gd name="T98" fmla="*/ 85 w 121"/>
                <a:gd name="T99" fmla="*/ 115 h 121"/>
                <a:gd name="T100" fmla="*/ 83 w 121"/>
                <a:gd name="T101" fmla="*/ 104 h 121"/>
                <a:gd name="T102" fmla="*/ 97 w 121"/>
                <a:gd name="T103" fmla="*/ 107 h 121"/>
                <a:gd name="T104" fmla="*/ 101 w 121"/>
                <a:gd name="T105" fmla="*/ 106 h 121"/>
                <a:gd name="T106" fmla="*/ 96 w 121"/>
                <a:gd name="T107" fmla="*/ 95 h 121"/>
                <a:gd name="T108" fmla="*/ 110 w 121"/>
                <a:gd name="T109" fmla="*/ 93 h 121"/>
                <a:gd name="T110" fmla="*/ 113 w 121"/>
                <a:gd name="T111" fmla="*/ 92 h 121"/>
                <a:gd name="T112" fmla="*/ 105 w 121"/>
                <a:gd name="T113" fmla="*/ 83 h 121"/>
                <a:gd name="T114" fmla="*/ 117 w 121"/>
                <a:gd name="T115" fmla="*/ 77 h 121"/>
                <a:gd name="T116" fmla="*/ 120 w 121"/>
                <a:gd name="T117" fmla="*/ 75 h 121"/>
                <a:gd name="T118" fmla="*/ 109 w 121"/>
                <a:gd name="T119" fmla="*/ 68 h 121"/>
                <a:gd name="T120" fmla="*/ 120 w 121"/>
                <a:gd name="T121" fmla="*/ 58 h 121"/>
                <a:gd name="T122" fmla="*/ 50 w 121"/>
                <a:gd name="T123" fmla="*/ 61 h 121"/>
                <a:gd name="T124" fmla="*/ 72 w 121"/>
                <a:gd name="T125" fmla="*/ 6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" h="121">
                  <a:moveTo>
                    <a:pt x="120" y="58"/>
                  </a:moveTo>
                  <a:cubicBezTo>
                    <a:pt x="121" y="58"/>
                    <a:pt x="121" y="57"/>
                    <a:pt x="121" y="56"/>
                  </a:cubicBezTo>
                  <a:cubicBezTo>
                    <a:pt x="121" y="56"/>
                    <a:pt x="121" y="56"/>
                    <a:pt x="121" y="56"/>
                  </a:cubicBezTo>
                  <a:cubicBezTo>
                    <a:pt x="121" y="55"/>
                    <a:pt x="120" y="54"/>
                    <a:pt x="119" y="54"/>
                  </a:cubicBezTo>
                  <a:cubicBezTo>
                    <a:pt x="110" y="53"/>
                    <a:pt x="110" y="53"/>
                    <a:pt x="110" y="53"/>
                  </a:cubicBezTo>
                  <a:cubicBezTo>
                    <a:pt x="109" y="50"/>
                    <a:pt x="109" y="48"/>
                    <a:pt x="108" y="46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7" y="40"/>
                    <a:pt x="117" y="39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7"/>
                    <a:pt x="116" y="36"/>
                    <a:pt x="115" y="37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4" y="36"/>
                    <a:pt x="102" y="34"/>
                    <a:pt x="101" y="3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8" y="24"/>
                    <a:pt x="108" y="23"/>
                    <a:pt x="108" y="23"/>
                  </a:cubicBezTo>
                  <a:cubicBezTo>
                    <a:pt x="108" y="22"/>
                    <a:pt x="108" y="22"/>
                    <a:pt x="107" y="21"/>
                  </a:cubicBezTo>
                  <a:cubicBezTo>
                    <a:pt x="107" y="21"/>
                    <a:pt x="105" y="20"/>
                    <a:pt x="105" y="21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94" y="24"/>
                    <a:pt x="92" y="22"/>
                    <a:pt x="90" y="21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4" y="11"/>
                    <a:pt x="94" y="11"/>
                    <a:pt x="94" y="11"/>
                  </a:cubicBezTo>
                  <a:cubicBezTo>
                    <a:pt x="94" y="10"/>
                    <a:pt x="94" y="9"/>
                    <a:pt x="93" y="9"/>
                  </a:cubicBezTo>
                  <a:cubicBezTo>
                    <a:pt x="92" y="8"/>
                    <a:pt x="91" y="9"/>
                    <a:pt x="90" y="10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1" y="15"/>
                    <a:pt x="79" y="15"/>
                    <a:pt x="77" y="14"/>
                  </a:cubicBezTo>
                  <a:cubicBezTo>
                    <a:pt x="77" y="4"/>
                    <a:pt x="77" y="4"/>
                    <a:pt x="77" y="4"/>
                  </a:cubicBezTo>
                  <a:cubicBezTo>
                    <a:pt x="77" y="4"/>
                    <a:pt x="77" y="4"/>
                    <a:pt x="77" y="3"/>
                  </a:cubicBezTo>
                  <a:cubicBezTo>
                    <a:pt x="77" y="2"/>
                    <a:pt x="76" y="2"/>
                    <a:pt x="75" y="1"/>
                  </a:cubicBezTo>
                  <a:cubicBezTo>
                    <a:pt x="74" y="1"/>
                    <a:pt x="73" y="2"/>
                    <a:pt x="73" y="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6" y="11"/>
                    <a:pt x="64" y="11"/>
                    <a:pt x="61" y="11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8" y="1"/>
                    <a:pt x="58" y="0"/>
                    <a:pt x="56" y="0"/>
                  </a:cubicBezTo>
                  <a:cubicBezTo>
                    <a:pt x="55" y="0"/>
                    <a:pt x="55" y="1"/>
                    <a:pt x="55" y="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1" y="12"/>
                    <a:pt x="48" y="13"/>
                    <a:pt x="46" y="13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4"/>
                    <a:pt x="39" y="4"/>
                    <a:pt x="38" y="4"/>
                  </a:cubicBezTo>
                  <a:cubicBezTo>
                    <a:pt x="37" y="4"/>
                    <a:pt x="37" y="5"/>
                    <a:pt x="37" y="6"/>
                  </a:cubicBezTo>
                  <a:cubicBezTo>
                    <a:pt x="37" y="6"/>
                    <a:pt x="37" y="6"/>
                    <a:pt x="37" y="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6" y="18"/>
                    <a:pt x="34" y="19"/>
                    <a:pt x="32" y="20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3"/>
                    <a:pt x="22" y="13"/>
                    <a:pt x="22" y="14"/>
                  </a:cubicBezTo>
                  <a:cubicBezTo>
                    <a:pt x="21" y="14"/>
                    <a:pt x="21" y="15"/>
                    <a:pt x="21" y="15"/>
                  </a:cubicBezTo>
                  <a:cubicBezTo>
                    <a:pt x="21" y="16"/>
                    <a:pt x="21" y="16"/>
                    <a:pt x="21" y="17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4" y="27"/>
                    <a:pt x="23" y="29"/>
                    <a:pt x="21" y="31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1" y="27"/>
                    <a:pt x="10" y="27"/>
                    <a:pt x="9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40"/>
                    <a:pt x="15" y="42"/>
                    <a:pt x="14" y="45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3" y="44"/>
                    <a:pt x="2" y="45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7"/>
                    <a:pt x="2" y="48"/>
                    <a:pt x="3" y="48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5"/>
                    <a:pt x="11" y="57"/>
                    <a:pt x="11" y="60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1" y="63"/>
                    <a:pt x="0" y="64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66"/>
                    <a:pt x="1" y="67"/>
                    <a:pt x="2" y="67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13" y="73"/>
                    <a:pt x="14" y="75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4" y="82"/>
                    <a:pt x="4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5" y="84"/>
                    <a:pt x="6" y="85"/>
                    <a:pt x="7" y="84"/>
                  </a:cubicBezTo>
                  <a:cubicBezTo>
                    <a:pt x="17" y="83"/>
                    <a:pt x="17" y="83"/>
                    <a:pt x="17" y="83"/>
                  </a:cubicBezTo>
                  <a:cubicBezTo>
                    <a:pt x="18" y="85"/>
                    <a:pt x="19" y="87"/>
                    <a:pt x="20" y="89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7"/>
                    <a:pt x="14" y="98"/>
                    <a:pt x="14" y="98"/>
                  </a:cubicBezTo>
                  <a:cubicBezTo>
                    <a:pt x="14" y="99"/>
                    <a:pt x="14" y="99"/>
                    <a:pt x="14" y="100"/>
                  </a:cubicBezTo>
                  <a:cubicBezTo>
                    <a:pt x="15" y="100"/>
                    <a:pt x="16" y="101"/>
                    <a:pt x="17" y="100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28" y="97"/>
                    <a:pt x="29" y="99"/>
                    <a:pt x="31" y="100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28" y="110"/>
                    <a:pt x="28" y="110"/>
                    <a:pt x="28" y="110"/>
                  </a:cubicBezTo>
                  <a:cubicBezTo>
                    <a:pt x="28" y="111"/>
                    <a:pt x="28" y="112"/>
                    <a:pt x="29" y="112"/>
                  </a:cubicBezTo>
                  <a:cubicBezTo>
                    <a:pt x="30" y="113"/>
                    <a:pt x="31" y="112"/>
                    <a:pt x="31" y="112"/>
                  </a:cubicBezTo>
                  <a:cubicBezTo>
                    <a:pt x="38" y="104"/>
                    <a:pt x="38" y="104"/>
                    <a:pt x="38" y="104"/>
                  </a:cubicBezTo>
                  <a:cubicBezTo>
                    <a:pt x="40" y="106"/>
                    <a:pt x="43" y="106"/>
                    <a:pt x="45" y="107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45" y="117"/>
                    <a:pt x="45" y="117"/>
                    <a:pt x="45" y="118"/>
                  </a:cubicBezTo>
                  <a:cubicBezTo>
                    <a:pt x="45" y="119"/>
                    <a:pt x="45" y="119"/>
                    <a:pt x="46" y="120"/>
                  </a:cubicBezTo>
                  <a:cubicBezTo>
                    <a:pt x="47" y="120"/>
                    <a:pt x="48" y="119"/>
                    <a:pt x="49" y="118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5" y="110"/>
                    <a:pt x="58" y="110"/>
                    <a:pt x="60" y="110"/>
                  </a:cubicBezTo>
                  <a:cubicBezTo>
                    <a:pt x="63" y="119"/>
                    <a:pt x="63" y="119"/>
                    <a:pt x="63" y="119"/>
                  </a:cubicBezTo>
                  <a:cubicBezTo>
                    <a:pt x="63" y="120"/>
                    <a:pt x="64" y="121"/>
                    <a:pt x="65" y="121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6" y="121"/>
                    <a:pt x="67" y="120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71" y="109"/>
                    <a:pt x="73" y="108"/>
                    <a:pt x="75" y="108"/>
                  </a:cubicBezTo>
                  <a:cubicBezTo>
                    <a:pt x="81" y="116"/>
                    <a:pt x="81" y="116"/>
                    <a:pt x="81" y="116"/>
                  </a:cubicBezTo>
                  <a:cubicBezTo>
                    <a:pt x="82" y="117"/>
                    <a:pt x="83" y="117"/>
                    <a:pt x="84" y="117"/>
                  </a:cubicBezTo>
                  <a:cubicBezTo>
                    <a:pt x="84" y="117"/>
                    <a:pt x="85" y="116"/>
                    <a:pt x="85" y="115"/>
                  </a:cubicBezTo>
                  <a:cubicBezTo>
                    <a:pt x="85" y="115"/>
                    <a:pt x="85" y="115"/>
                    <a:pt x="85" y="114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5" y="103"/>
                    <a:pt x="87" y="102"/>
                    <a:pt x="89" y="101"/>
                  </a:cubicBezTo>
                  <a:cubicBezTo>
                    <a:pt x="97" y="107"/>
                    <a:pt x="97" y="107"/>
                    <a:pt x="97" y="107"/>
                  </a:cubicBezTo>
                  <a:cubicBezTo>
                    <a:pt x="98" y="108"/>
                    <a:pt x="99" y="108"/>
                    <a:pt x="100" y="107"/>
                  </a:cubicBezTo>
                  <a:cubicBezTo>
                    <a:pt x="100" y="107"/>
                    <a:pt x="101" y="106"/>
                    <a:pt x="101" y="106"/>
                  </a:cubicBezTo>
                  <a:cubicBezTo>
                    <a:pt x="101" y="105"/>
                    <a:pt x="100" y="105"/>
                    <a:pt x="100" y="104"/>
                  </a:cubicBezTo>
                  <a:cubicBezTo>
                    <a:pt x="96" y="95"/>
                    <a:pt x="96" y="95"/>
                    <a:pt x="96" y="95"/>
                  </a:cubicBezTo>
                  <a:cubicBezTo>
                    <a:pt x="97" y="94"/>
                    <a:pt x="99" y="92"/>
                    <a:pt x="100" y="90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11" y="94"/>
                    <a:pt x="112" y="94"/>
                    <a:pt x="112" y="93"/>
                  </a:cubicBezTo>
                  <a:cubicBezTo>
                    <a:pt x="113" y="92"/>
                    <a:pt x="113" y="92"/>
                    <a:pt x="113" y="92"/>
                  </a:cubicBezTo>
                  <a:cubicBezTo>
                    <a:pt x="113" y="91"/>
                    <a:pt x="112" y="90"/>
                    <a:pt x="112" y="90"/>
                  </a:cubicBezTo>
                  <a:cubicBezTo>
                    <a:pt x="105" y="83"/>
                    <a:pt x="105" y="83"/>
                    <a:pt x="105" y="83"/>
                  </a:cubicBezTo>
                  <a:cubicBezTo>
                    <a:pt x="106" y="81"/>
                    <a:pt x="107" y="79"/>
                    <a:pt x="107" y="76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8" y="77"/>
                    <a:pt x="120" y="76"/>
                    <a:pt x="120" y="75"/>
                  </a:cubicBezTo>
                  <a:cubicBezTo>
                    <a:pt x="120" y="75"/>
                    <a:pt x="120" y="75"/>
                    <a:pt x="120" y="75"/>
                  </a:cubicBezTo>
                  <a:cubicBezTo>
                    <a:pt x="120" y="74"/>
                    <a:pt x="119" y="73"/>
                    <a:pt x="118" y="73"/>
                  </a:cubicBezTo>
                  <a:cubicBezTo>
                    <a:pt x="109" y="68"/>
                    <a:pt x="109" y="68"/>
                    <a:pt x="109" y="68"/>
                  </a:cubicBezTo>
                  <a:cubicBezTo>
                    <a:pt x="110" y="66"/>
                    <a:pt x="110" y="64"/>
                    <a:pt x="110" y="61"/>
                  </a:cubicBezTo>
                  <a:lnTo>
                    <a:pt x="120" y="58"/>
                  </a:lnTo>
                  <a:close/>
                  <a:moveTo>
                    <a:pt x="61" y="72"/>
                  </a:moveTo>
                  <a:cubicBezTo>
                    <a:pt x="55" y="72"/>
                    <a:pt x="50" y="67"/>
                    <a:pt x="50" y="61"/>
                  </a:cubicBezTo>
                  <a:cubicBezTo>
                    <a:pt x="50" y="54"/>
                    <a:pt x="55" y="49"/>
                    <a:pt x="61" y="49"/>
                  </a:cubicBezTo>
                  <a:cubicBezTo>
                    <a:pt x="67" y="49"/>
                    <a:pt x="72" y="54"/>
                    <a:pt x="72" y="61"/>
                  </a:cubicBezTo>
                  <a:cubicBezTo>
                    <a:pt x="72" y="67"/>
                    <a:pt x="67" y="72"/>
                    <a:pt x="6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21"/>
            <p:cNvSpPr>
              <a:spLocks noChangeArrowheads="1"/>
            </p:cNvSpPr>
            <p:nvPr/>
          </p:nvSpPr>
          <p:spPr bwMode="auto">
            <a:xfrm>
              <a:off x="-1055688" y="2462213"/>
              <a:ext cx="171450" cy="1714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22"/>
            <p:cNvSpPr>
              <a:spLocks noChangeArrowheads="1"/>
            </p:cNvSpPr>
            <p:nvPr/>
          </p:nvSpPr>
          <p:spPr bwMode="auto">
            <a:xfrm>
              <a:off x="-1776413" y="2792413"/>
              <a:ext cx="115888" cy="1190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3"/>
            <p:cNvSpPr>
              <a:spLocks noEditPoints="1"/>
            </p:cNvSpPr>
            <p:nvPr/>
          </p:nvSpPr>
          <p:spPr bwMode="auto">
            <a:xfrm>
              <a:off x="-2773363" y="2439988"/>
              <a:ext cx="2692401" cy="2659063"/>
            </a:xfrm>
            <a:custGeom>
              <a:avLst/>
              <a:gdLst>
                <a:gd name="T0" fmla="*/ 605 w 718"/>
                <a:gd name="T1" fmla="*/ 20 h 709"/>
                <a:gd name="T2" fmla="*/ 602 w 718"/>
                <a:gd name="T3" fmla="*/ 58 h 709"/>
                <a:gd name="T4" fmla="*/ 587 w 718"/>
                <a:gd name="T5" fmla="*/ 93 h 709"/>
                <a:gd name="T6" fmla="*/ 563 w 718"/>
                <a:gd name="T7" fmla="*/ 121 h 709"/>
                <a:gd name="T8" fmla="*/ 530 w 718"/>
                <a:gd name="T9" fmla="*/ 141 h 709"/>
                <a:gd name="T10" fmla="*/ 493 w 718"/>
                <a:gd name="T11" fmla="*/ 149 h 709"/>
                <a:gd name="T12" fmla="*/ 456 w 718"/>
                <a:gd name="T13" fmla="*/ 147 h 709"/>
                <a:gd name="T14" fmla="*/ 420 w 718"/>
                <a:gd name="T15" fmla="*/ 134 h 709"/>
                <a:gd name="T16" fmla="*/ 391 w 718"/>
                <a:gd name="T17" fmla="*/ 110 h 709"/>
                <a:gd name="T18" fmla="*/ 371 w 718"/>
                <a:gd name="T19" fmla="*/ 78 h 709"/>
                <a:gd name="T20" fmla="*/ 361 w 718"/>
                <a:gd name="T21" fmla="*/ 42 h 709"/>
                <a:gd name="T22" fmla="*/ 363 w 718"/>
                <a:gd name="T23" fmla="*/ 4 h 709"/>
                <a:gd name="T24" fmla="*/ 68 w 718"/>
                <a:gd name="T25" fmla="*/ 221 h 709"/>
                <a:gd name="T26" fmla="*/ 162 w 718"/>
                <a:gd name="T27" fmla="*/ 514 h 709"/>
                <a:gd name="T28" fmla="*/ 334 w 718"/>
                <a:gd name="T29" fmla="*/ 176 h 709"/>
                <a:gd name="T30" fmla="*/ 311 w 718"/>
                <a:gd name="T31" fmla="*/ 189 h 709"/>
                <a:gd name="T32" fmla="*/ 288 w 718"/>
                <a:gd name="T33" fmla="*/ 197 h 709"/>
                <a:gd name="T34" fmla="*/ 258 w 718"/>
                <a:gd name="T35" fmla="*/ 192 h 709"/>
                <a:gd name="T36" fmla="*/ 234 w 718"/>
                <a:gd name="T37" fmla="*/ 181 h 709"/>
                <a:gd name="T38" fmla="*/ 214 w 718"/>
                <a:gd name="T39" fmla="*/ 164 h 709"/>
                <a:gd name="T40" fmla="*/ 201 w 718"/>
                <a:gd name="T41" fmla="*/ 141 h 709"/>
                <a:gd name="T42" fmla="*/ 195 w 718"/>
                <a:gd name="T43" fmla="*/ 116 h 709"/>
                <a:gd name="T44" fmla="*/ 197 w 718"/>
                <a:gd name="T45" fmla="*/ 89 h 709"/>
                <a:gd name="T46" fmla="*/ 207 w 718"/>
                <a:gd name="T47" fmla="*/ 64 h 709"/>
                <a:gd name="T48" fmla="*/ 225 w 718"/>
                <a:gd name="T49" fmla="*/ 43 h 709"/>
                <a:gd name="T50" fmla="*/ 249 w 718"/>
                <a:gd name="T51" fmla="*/ 29 h 709"/>
                <a:gd name="T52" fmla="*/ 275 w 718"/>
                <a:gd name="T53" fmla="*/ 23 h 709"/>
                <a:gd name="T54" fmla="*/ 305 w 718"/>
                <a:gd name="T55" fmla="*/ 28 h 709"/>
                <a:gd name="T56" fmla="*/ 329 w 718"/>
                <a:gd name="T57" fmla="*/ 38 h 709"/>
                <a:gd name="T58" fmla="*/ 349 w 718"/>
                <a:gd name="T59" fmla="*/ 55 h 709"/>
                <a:gd name="T60" fmla="*/ 362 w 718"/>
                <a:gd name="T61" fmla="*/ 78 h 709"/>
                <a:gd name="T62" fmla="*/ 368 w 718"/>
                <a:gd name="T63" fmla="*/ 104 h 709"/>
                <a:gd name="T64" fmla="*/ 366 w 718"/>
                <a:gd name="T65" fmla="*/ 131 h 709"/>
                <a:gd name="T66" fmla="*/ 356 w 718"/>
                <a:gd name="T67" fmla="*/ 156 h 709"/>
                <a:gd name="T68" fmla="*/ 338 w 718"/>
                <a:gd name="T69" fmla="*/ 176 h 709"/>
                <a:gd name="T70" fmla="*/ 451 w 718"/>
                <a:gd name="T71" fmla="*/ 208 h 709"/>
                <a:gd name="T72" fmla="*/ 444 w 718"/>
                <a:gd name="T73" fmla="*/ 224 h 709"/>
                <a:gd name="T74" fmla="*/ 433 w 718"/>
                <a:gd name="T75" fmla="*/ 237 h 709"/>
                <a:gd name="T76" fmla="*/ 418 w 718"/>
                <a:gd name="T77" fmla="*/ 247 h 709"/>
                <a:gd name="T78" fmla="*/ 401 w 718"/>
                <a:gd name="T79" fmla="*/ 251 h 709"/>
                <a:gd name="T80" fmla="*/ 383 w 718"/>
                <a:gd name="T81" fmla="*/ 250 h 709"/>
                <a:gd name="T82" fmla="*/ 367 w 718"/>
                <a:gd name="T83" fmla="*/ 243 h 709"/>
                <a:gd name="T84" fmla="*/ 353 w 718"/>
                <a:gd name="T85" fmla="*/ 232 h 709"/>
                <a:gd name="T86" fmla="*/ 343 w 718"/>
                <a:gd name="T87" fmla="*/ 217 h 709"/>
                <a:gd name="T88" fmla="*/ 339 w 718"/>
                <a:gd name="T89" fmla="*/ 200 h 709"/>
                <a:gd name="T90" fmla="*/ 340 w 718"/>
                <a:gd name="T91" fmla="*/ 183 h 709"/>
                <a:gd name="T92" fmla="*/ 346 w 718"/>
                <a:gd name="T93" fmla="*/ 166 h 709"/>
                <a:gd name="T94" fmla="*/ 357 w 718"/>
                <a:gd name="T95" fmla="*/ 153 h 709"/>
                <a:gd name="T96" fmla="*/ 372 w 718"/>
                <a:gd name="T97" fmla="*/ 143 h 709"/>
                <a:gd name="T98" fmla="*/ 389 w 718"/>
                <a:gd name="T99" fmla="*/ 138 h 709"/>
                <a:gd name="T100" fmla="*/ 407 w 718"/>
                <a:gd name="T101" fmla="*/ 139 h 709"/>
                <a:gd name="T102" fmla="*/ 423 w 718"/>
                <a:gd name="T103" fmla="*/ 146 h 709"/>
                <a:gd name="T104" fmla="*/ 437 w 718"/>
                <a:gd name="T105" fmla="*/ 157 h 709"/>
                <a:gd name="T106" fmla="*/ 446 w 718"/>
                <a:gd name="T107" fmla="*/ 172 h 709"/>
                <a:gd name="T108" fmla="*/ 451 w 718"/>
                <a:gd name="T109" fmla="*/ 18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18" h="709">
                  <a:moveTo>
                    <a:pt x="606" y="330"/>
                  </a:moveTo>
                  <a:cubicBezTo>
                    <a:pt x="718" y="140"/>
                    <a:pt x="627" y="0"/>
                    <a:pt x="627" y="0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79" y="4"/>
                    <a:pt x="580" y="9"/>
                    <a:pt x="581" y="13"/>
                  </a:cubicBezTo>
                  <a:cubicBezTo>
                    <a:pt x="601" y="16"/>
                    <a:pt x="601" y="16"/>
                    <a:pt x="601" y="16"/>
                  </a:cubicBezTo>
                  <a:cubicBezTo>
                    <a:pt x="603" y="16"/>
                    <a:pt x="605" y="18"/>
                    <a:pt x="605" y="20"/>
                  </a:cubicBezTo>
                  <a:cubicBezTo>
                    <a:pt x="605" y="20"/>
                    <a:pt x="605" y="20"/>
                    <a:pt x="605" y="20"/>
                  </a:cubicBezTo>
                  <a:cubicBezTo>
                    <a:pt x="605" y="23"/>
                    <a:pt x="604" y="24"/>
                    <a:pt x="601" y="24"/>
                  </a:cubicBezTo>
                  <a:cubicBezTo>
                    <a:pt x="582" y="30"/>
                    <a:pt x="582" y="30"/>
                    <a:pt x="582" y="30"/>
                  </a:cubicBezTo>
                  <a:cubicBezTo>
                    <a:pt x="582" y="35"/>
                    <a:pt x="581" y="40"/>
                    <a:pt x="581" y="45"/>
                  </a:cubicBezTo>
                  <a:cubicBezTo>
                    <a:pt x="599" y="54"/>
                    <a:pt x="599" y="54"/>
                    <a:pt x="599" y="54"/>
                  </a:cubicBezTo>
                  <a:cubicBezTo>
                    <a:pt x="601" y="55"/>
                    <a:pt x="602" y="56"/>
                    <a:pt x="602" y="58"/>
                  </a:cubicBezTo>
                  <a:cubicBezTo>
                    <a:pt x="602" y="58"/>
                    <a:pt x="602" y="59"/>
                    <a:pt x="602" y="59"/>
                  </a:cubicBezTo>
                  <a:cubicBezTo>
                    <a:pt x="601" y="61"/>
                    <a:pt x="599" y="62"/>
                    <a:pt x="597" y="62"/>
                  </a:cubicBezTo>
                  <a:cubicBezTo>
                    <a:pt x="577" y="62"/>
                    <a:pt x="577" y="62"/>
                    <a:pt x="577" y="62"/>
                  </a:cubicBezTo>
                  <a:cubicBezTo>
                    <a:pt x="575" y="66"/>
                    <a:pt x="573" y="71"/>
                    <a:pt x="571" y="75"/>
                  </a:cubicBezTo>
                  <a:cubicBezTo>
                    <a:pt x="585" y="89"/>
                    <a:pt x="585" y="89"/>
                    <a:pt x="585" y="89"/>
                  </a:cubicBezTo>
                  <a:cubicBezTo>
                    <a:pt x="587" y="90"/>
                    <a:pt x="587" y="91"/>
                    <a:pt x="587" y="93"/>
                  </a:cubicBezTo>
                  <a:cubicBezTo>
                    <a:pt x="587" y="94"/>
                    <a:pt x="587" y="94"/>
                    <a:pt x="587" y="95"/>
                  </a:cubicBezTo>
                  <a:cubicBezTo>
                    <a:pt x="585" y="97"/>
                    <a:pt x="583" y="97"/>
                    <a:pt x="581" y="96"/>
                  </a:cubicBezTo>
                  <a:cubicBezTo>
                    <a:pt x="562" y="90"/>
                    <a:pt x="562" y="90"/>
                    <a:pt x="562" y="90"/>
                  </a:cubicBezTo>
                  <a:cubicBezTo>
                    <a:pt x="559" y="94"/>
                    <a:pt x="556" y="97"/>
                    <a:pt x="552" y="101"/>
                  </a:cubicBezTo>
                  <a:cubicBezTo>
                    <a:pt x="562" y="119"/>
                    <a:pt x="562" y="119"/>
                    <a:pt x="562" y="119"/>
                  </a:cubicBezTo>
                  <a:cubicBezTo>
                    <a:pt x="562" y="120"/>
                    <a:pt x="563" y="120"/>
                    <a:pt x="563" y="121"/>
                  </a:cubicBezTo>
                  <a:cubicBezTo>
                    <a:pt x="563" y="122"/>
                    <a:pt x="562" y="124"/>
                    <a:pt x="561" y="124"/>
                  </a:cubicBezTo>
                  <a:cubicBezTo>
                    <a:pt x="559" y="126"/>
                    <a:pt x="557" y="126"/>
                    <a:pt x="555" y="124"/>
                  </a:cubicBezTo>
                  <a:cubicBezTo>
                    <a:pt x="539" y="112"/>
                    <a:pt x="539" y="112"/>
                    <a:pt x="539" y="112"/>
                  </a:cubicBezTo>
                  <a:cubicBezTo>
                    <a:pt x="535" y="114"/>
                    <a:pt x="531" y="117"/>
                    <a:pt x="527" y="119"/>
                  </a:cubicBezTo>
                  <a:cubicBezTo>
                    <a:pt x="530" y="139"/>
                    <a:pt x="530" y="139"/>
                    <a:pt x="530" y="139"/>
                  </a:cubicBezTo>
                  <a:cubicBezTo>
                    <a:pt x="530" y="140"/>
                    <a:pt x="530" y="140"/>
                    <a:pt x="530" y="141"/>
                  </a:cubicBezTo>
                  <a:cubicBezTo>
                    <a:pt x="530" y="142"/>
                    <a:pt x="529" y="144"/>
                    <a:pt x="528" y="145"/>
                  </a:cubicBezTo>
                  <a:cubicBezTo>
                    <a:pt x="526" y="145"/>
                    <a:pt x="523" y="144"/>
                    <a:pt x="522" y="142"/>
                  </a:cubicBezTo>
                  <a:cubicBezTo>
                    <a:pt x="511" y="126"/>
                    <a:pt x="511" y="126"/>
                    <a:pt x="511" y="126"/>
                  </a:cubicBezTo>
                  <a:cubicBezTo>
                    <a:pt x="506" y="127"/>
                    <a:pt x="501" y="128"/>
                    <a:pt x="497" y="129"/>
                  </a:cubicBezTo>
                  <a:cubicBezTo>
                    <a:pt x="493" y="149"/>
                    <a:pt x="493" y="149"/>
                    <a:pt x="493" y="149"/>
                  </a:cubicBezTo>
                  <a:cubicBezTo>
                    <a:pt x="493" y="149"/>
                    <a:pt x="493" y="149"/>
                    <a:pt x="493" y="149"/>
                  </a:cubicBezTo>
                  <a:cubicBezTo>
                    <a:pt x="493" y="151"/>
                    <a:pt x="492" y="153"/>
                    <a:pt x="490" y="153"/>
                  </a:cubicBezTo>
                  <a:cubicBezTo>
                    <a:pt x="490" y="153"/>
                    <a:pt x="490" y="153"/>
                    <a:pt x="489" y="153"/>
                  </a:cubicBezTo>
                  <a:cubicBezTo>
                    <a:pt x="487" y="153"/>
                    <a:pt x="486" y="152"/>
                    <a:pt x="485" y="150"/>
                  </a:cubicBezTo>
                  <a:cubicBezTo>
                    <a:pt x="479" y="130"/>
                    <a:pt x="479" y="130"/>
                    <a:pt x="479" y="130"/>
                  </a:cubicBezTo>
                  <a:cubicBezTo>
                    <a:pt x="475" y="130"/>
                    <a:pt x="470" y="130"/>
                    <a:pt x="465" y="129"/>
                  </a:cubicBezTo>
                  <a:cubicBezTo>
                    <a:pt x="456" y="147"/>
                    <a:pt x="456" y="147"/>
                    <a:pt x="456" y="147"/>
                  </a:cubicBezTo>
                  <a:cubicBezTo>
                    <a:pt x="455" y="149"/>
                    <a:pt x="453" y="151"/>
                    <a:pt x="451" y="150"/>
                  </a:cubicBezTo>
                  <a:cubicBezTo>
                    <a:pt x="449" y="150"/>
                    <a:pt x="448" y="148"/>
                    <a:pt x="448" y="146"/>
                  </a:cubicBezTo>
                  <a:cubicBezTo>
                    <a:pt x="448" y="146"/>
                    <a:pt x="448" y="146"/>
                    <a:pt x="448" y="145"/>
                  </a:cubicBezTo>
                  <a:cubicBezTo>
                    <a:pt x="448" y="125"/>
                    <a:pt x="448" y="125"/>
                    <a:pt x="448" y="125"/>
                  </a:cubicBezTo>
                  <a:cubicBezTo>
                    <a:pt x="444" y="123"/>
                    <a:pt x="439" y="121"/>
                    <a:pt x="435" y="119"/>
                  </a:cubicBezTo>
                  <a:cubicBezTo>
                    <a:pt x="420" y="134"/>
                    <a:pt x="420" y="134"/>
                    <a:pt x="420" y="134"/>
                  </a:cubicBezTo>
                  <a:cubicBezTo>
                    <a:pt x="419" y="135"/>
                    <a:pt x="417" y="136"/>
                    <a:pt x="415" y="135"/>
                  </a:cubicBezTo>
                  <a:cubicBezTo>
                    <a:pt x="414" y="134"/>
                    <a:pt x="413" y="133"/>
                    <a:pt x="413" y="131"/>
                  </a:cubicBezTo>
                  <a:cubicBezTo>
                    <a:pt x="413" y="131"/>
                    <a:pt x="413" y="130"/>
                    <a:pt x="414" y="129"/>
                  </a:cubicBezTo>
                  <a:cubicBezTo>
                    <a:pt x="420" y="110"/>
                    <a:pt x="420" y="110"/>
                    <a:pt x="420" y="110"/>
                  </a:cubicBezTo>
                  <a:cubicBezTo>
                    <a:pt x="416" y="107"/>
                    <a:pt x="413" y="104"/>
                    <a:pt x="409" y="101"/>
                  </a:cubicBezTo>
                  <a:cubicBezTo>
                    <a:pt x="391" y="110"/>
                    <a:pt x="391" y="110"/>
                    <a:pt x="391" y="110"/>
                  </a:cubicBezTo>
                  <a:cubicBezTo>
                    <a:pt x="389" y="111"/>
                    <a:pt x="387" y="111"/>
                    <a:pt x="386" y="109"/>
                  </a:cubicBezTo>
                  <a:cubicBezTo>
                    <a:pt x="385" y="109"/>
                    <a:pt x="385" y="108"/>
                    <a:pt x="385" y="107"/>
                  </a:cubicBezTo>
                  <a:cubicBezTo>
                    <a:pt x="385" y="106"/>
                    <a:pt x="385" y="104"/>
                    <a:pt x="386" y="10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5" y="83"/>
                    <a:pt x="393" y="79"/>
                    <a:pt x="391" y="75"/>
                  </a:cubicBezTo>
                  <a:cubicBezTo>
                    <a:pt x="371" y="78"/>
                    <a:pt x="371" y="78"/>
                    <a:pt x="371" y="78"/>
                  </a:cubicBezTo>
                  <a:cubicBezTo>
                    <a:pt x="369" y="79"/>
                    <a:pt x="366" y="78"/>
                    <a:pt x="365" y="76"/>
                  </a:cubicBezTo>
                  <a:cubicBezTo>
                    <a:pt x="365" y="75"/>
                    <a:pt x="365" y="75"/>
                    <a:pt x="365" y="74"/>
                  </a:cubicBezTo>
                  <a:cubicBezTo>
                    <a:pt x="365" y="73"/>
                    <a:pt x="366" y="71"/>
                    <a:pt x="368" y="71"/>
                  </a:cubicBezTo>
                  <a:cubicBezTo>
                    <a:pt x="384" y="59"/>
                    <a:pt x="384" y="59"/>
                    <a:pt x="384" y="59"/>
                  </a:cubicBezTo>
                  <a:cubicBezTo>
                    <a:pt x="383" y="54"/>
                    <a:pt x="382" y="50"/>
                    <a:pt x="381" y="45"/>
                  </a:cubicBezTo>
                  <a:cubicBezTo>
                    <a:pt x="361" y="42"/>
                    <a:pt x="361" y="42"/>
                    <a:pt x="361" y="42"/>
                  </a:cubicBezTo>
                  <a:cubicBezTo>
                    <a:pt x="359" y="42"/>
                    <a:pt x="357" y="40"/>
                    <a:pt x="357" y="38"/>
                  </a:cubicBezTo>
                  <a:cubicBezTo>
                    <a:pt x="357" y="38"/>
                    <a:pt x="357" y="38"/>
                    <a:pt x="357" y="38"/>
                  </a:cubicBezTo>
                  <a:cubicBezTo>
                    <a:pt x="357" y="36"/>
                    <a:pt x="358" y="34"/>
                    <a:pt x="360" y="34"/>
                  </a:cubicBezTo>
                  <a:cubicBezTo>
                    <a:pt x="380" y="28"/>
                    <a:pt x="380" y="28"/>
                    <a:pt x="380" y="28"/>
                  </a:cubicBezTo>
                  <a:cubicBezTo>
                    <a:pt x="380" y="23"/>
                    <a:pt x="380" y="18"/>
                    <a:pt x="381" y="13"/>
                  </a:cubicBezTo>
                  <a:cubicBezTo>
                    <a:pt x="363" y="4"/>
                    <a:pt x="363" y="4"/>
                    <a:pt x="363" y="4"/>
                  </a:cubicBezTo>
                  <a:cubicBezTo>
                    <a:pt x="361" y="4"/>
                    <a:pt x="360" y="2"/>
                    <a:pt x="360" y="0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03" y="41"/>
                    <a:pt x="83" y="85"/>
                    <a:pt x="83" y="85"/>
                  </a:cubicBezTo>
                  <a:cubicBezTo>
                    <a:pt x="71" y="115"/>
                    <a:pt x="79" y="137"/>
                    <a:pt x="79" y="137"/>
                  </a:cubicBezTo>
                  <a:cubicBezTo>
                    <a:pt x="103" y="178"/>
                    <a:pt x="84" y="200"/>
                    <a:pt x="68" y="221"/>
                  </a:cubicBezTo>
                  <a:cubicBezTo>
                    <a:pt x="53" y="242"/>
                    <a:pt x="0" y="315"/>
                    <a:pt x="51" y="317"/>
                  </a:cubicBezTo>
                  <a:cubicBezTo>
                    <a:pt x="99" y="318"/>
                    <a:pt x="84" y="334"/>
                    <a:pt x="84" y="334"/>
                  </a:cubicBezTo>
                  <a:cubicBezTo>
                    <a:pt x="63" y="380"/>
                    <a:pt x="96" y="381"/>
                    <a:pt x="96" y="381"/>
                  </a:cubicBezTo>
                  <a:cubicBezTo>
                    <a:pt x="81" y="408"/>
                    <a:pt x="103" y="409"/>
                    <a:pt x="103" y="409"/>
                  </a:cubicBezTo>
                  <a:cubicBezTo>
                    <a:pt x="135" y="409"/>
                    <a:pt x="118" y="438"/>
                    <a:pt x="118" y="438"/>
                  </a:cubicBezTo>
                  <a:cubicBezTo>
                    <a:pt x="79" y="481"/>
                    <a:pt x="113" y="524"/>
                    <a:pt x="162" y="514"/>
                  </a:cubicBezTo>
                  <a:cubicBezTo>
                    <a:pt x="259" y="494"/>
                    <a:pt x="309" y="527"/>
                    <a:pt x="286" y="597"/>
                  </a:cubicBezTo>
                  <a:cubicBezTo>
                    <a:pt x="263" y="666"/>
                    <a:pt x="232" y="709"/>
                    <a:pt x="232" y="709"/>
                  </a:cubicBezTo>
                  <a:cubicBezTo>
                    <a:pt x="659" y="709"/>
                    <a:pt x="659" y="709"/>
                    <a:pt x="659" y="709"/>
                  </a:cubicBezTo>
                  <a:cubicBezTo>
                    <a:pt x="568" y="521"/>
                    <a:pt x="568" y="521"/>
                    <a:pt x="568" y="521"/>
                  </a:cubicBezTo>
                  <a:cubicBezTo>
                    <a:pt x="540" y="458"/>
                    <a:pt x="606" y="330"/>
                    <a:pt x="606" y="330"/>
                  </a:cubicBezTo>
                  <a:close/>
                  <a:moveTo>
                    <a:pt x="334" y="176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20" y="169"/>
                    <a:pt x="317" y="171"/>
                    <a:pt x="314" y="173"/>
                  </a:cubicBezTo>
                  <a:cubicBezTo>
                    <a:pt x="316" y="187"/>
                    <a:pt x="316" y="187"/>
                    <a:pt x="316" y="187"/>
                  </a:cubicBezTo>
                  <a:cubicBezTo>
                    <a:pt x="316" y="187"/>
                    <a:pt x="316" y="188"/>
                    <a:pt x="316" y="188"/>
                  </a:cubicBezTo>
                  <a:cubicBezTo>
                    <a:pt x="316" y="189"/>
                    <a:pt x="315" y="190"/>
                    <a:pt x="314" y="191"/>
                  </a:cubicBezTo>
                  <a:cubicBezTo>
                    <a:pt x="313" y="191"/>
                    <a:pt x="311" y="190"/>
                    <a:pt x="311" y="189"/>
                  </a:cubicBezTo>
                  <a:cubicBezTo>
                    <a:pt x="302" y="177"/>
                    <a:pt x="302" y="177"/>
                    <a:pt x="302" y="177"/>
                  </a:cubicBezTo>
                  <a:cubicBezTo>
                    <a:pt x="299" y="178"/>
                    <a:pt x="296" y="179"/>
                    <a:pt x="293" y="180"/>
                  </a:cubicBezTo>
                  <a:cubicBezTo>
                    <a:pt x="290" y="194"/>
                    <a:pt x="290" y="194"/>
                    <a:pt x="290" y="194"/>
                  </a:cubicBezTo>
                  <a:cubicBezTo>
                    <a:pt x="290" y="194"/>
                    <a:pt x="290" y="194"/>
                    <a:pt x="290" y="194"/>
                  </a:cubicBezTo>
                  <a:cubicBezTo>
                    <a:pt x="290" y="195"/>
                    <a:pt x="289" y="197"/>
                    <a:pt x="288" y="197"/>
                  </a:cubicBezTo>
                  <a:cubicBezTo>
                    <a:pt x="288" y="197"/>
                    <a:pt x="288" y="197"/>
                    <a:pt x="288" y="197"/>
                  </a:cubicBezTo>
                  <a:cubicBezTo>
                    <a:pt x="286" y="197"/>
                    <a:pt x="285" y="196"/>
                    <a:pt x="285" y="194"/>
                  </a:cubicBezTo>
                  <a:cubicBezTo>
                    <a:pt x="281" y="180"/>
                    <a:pt x="281" y="180"/>
                    <a:pt x="281" y="180"/>
                  </a:cubicBezTo>
                  <a:cubicBezTo>
                    <a:pt x="277" y="180"/>
                    <a:pt x="274" y="180"/>
                    <a:pt x="270" y="180"/>
                  </a:cubicBezTo>
                  <a:cubicBezTo>
                    <a:pt x="264" y="192"/>
                    <a:pt x="264" y="192"/>
                    <a:pt x="264" y="192"/>
                  </a:cubicBezTo>
                  <a:cubicBezTo>
                    <a:pt x="264" y="194"/>
                    <a:pt x="262" y="195"/>
                    <a:pt x="261" y="194"/>
                  </a:cubicBezTo>
                  <a:cubicBezTo>
                    <a:pt x="259" y="194"/>
                    <a:pt x="258" y="193"/>
                    <a:pt x="258" y="192"/>
                  </a:cubicBezTo>
                  <a:cubicBezTo>
                    <a:pt x="258" y="191"/>
                    <a:pt x="258" y="191"/>
                    <a:pt x="259" y="191"/>
                  </a:cubicBezTo>
                  <a:cubicBezTo>
                    <a:pt x="259" y="177"/>
                    <a:pt x="259" y="177"/>
                    <a:pt x="259" y="177"/>
                  </a:cubicBezTo>
                  <a:cubicBezTo>
                    <a:pt x="255" y="176"/>
                    <a:pt x="252" y="174"/>
                    <a:pt x="249" y="173"/>
                  </a:cubicBezTo>
                  <a:cubicBezTo>
                    <a:pt x="239" y="183"/>
                    <a:pt x="239" y="183"/>
                    <a:pt x="239" y="183"/>
                  </a:cubicBezTo>
                  <a:cubicBezTo>
                    <a:pt x="238" y="184"/>
                    <a:pt x="237" y="185"/>
                    <a:pt x="235" y="184"/>
                  </a:cubicBezTo>
                  <a:cubicBezTo>
                    <a:pt x="235" y="183"/>
                    <a:pt x="234" y="182"/>
                    <a:pt x="234" y="181"/>
                  </a:cubicBezTo>
                  <a:cubicBezTo>
                    <a:pt x="234" y="181"/>
                    <a:pt x="234" y="180"/>
                    <a:pt x="235" y="18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6" y="164"/>
                    <a:pt x="234" y="162"/>
                    <a:pt x="231" y="160"/>
                  </a:cubicBezTo>
                  <a:cubicBezTo>
                    <a:pt x="219" y="166"/>
                    <a:pt x="219" y="166"/>
                    <a:pt x="219" y="166"/>
                  </a:cubicBezTo>
                  <a:cubicBezTo>
                    <a:pt x="218" y="167"/>
                    <a:pt x="216" y="167"/>
                    <a:pt x="215" y="166"/>
                  </a:cubicBezTo>
                  <a:cubicBezTo>
                    <a:pt x="214" y="165"/>
                    <a:pt x="214" y="165"/>
                    <a:pt x="214" y="164"/>
                  </a:cubicBezTo>
                  <a:cubicBezTo>
                    <a:pt x="214" y="163"/>
                    <a:pt x="214" y="163"/>
                    <a:pt x="215" y="162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22" y="148"/>
                    <a:pt x="220" y="145"/>
                    <a:pt x="218" y="142"/>
                  </a:cubicBezTo>
                  <a:cubicBezTo>
                    <a:pt x="204" y="144"/>
                    <a:pt x="204" y="144"/>
                    <a:pt x="204" y="144"/>
                  </a:cubicBezTo>
                  <a:cubicBezTo>
                    <a:pt x="203" y="145"/>
                    <a:pt x="201" y="144"/>
                    <a:pt x="201" y="143"/>
                  </a:cubicBezTo>
                  <a:cubicBezTo>
                    <a:pt x="201" y="142"/>
                    <a:pt x="201" y="142"/>
                    <a:pt x="201" y="141"/>
                  </a:cubicBezTo>
                  <a:cubicBezTo>
                    <a:pt x="201" y="140"/>
                    <a:pt x="201" y="139"/>
                    <a:pt x="202" y="139"/>
                  </a:cubicBezTo>
                  <a:cubicBezTo>
                    <a:pt x="214" y="131"/>
                    <a:pt x="214" y="131"/>
                    <a:pt x="214" y="131"/>
                  </a:cubicBezTo>
                  <a:cubicBezTo>
                    <a:pt x="213" y="127"/>
                    <a:pt x="212" y="124"/>
                    <a:pt x="212" y="121"/>
                  </a:cubicBezTo>
                  <a:cubicBezTo>
                    <a:pt x="198" y="119"/>
                    <a:pt x="198" y="119"/>
                    <a:pt x="198" y="119"/>
                  </a:cubicBezTo>
                  <a:cubicBezTo>
                    <a:pt x="196" y="119"/>
                    <a:pt x="195" y="118"/>
                    <a:pt x="195" y="116"/>
                  </a:cubicBezTo>
                  <a:cubicBezTo>
                    <a:pt x="195" y="116"/>
                    <a:pt x="195" y="116"/>
                    <a:pt x="195" y="116"/>
                  </a:cubicBezTo>
                  <a:cubicBezTo>
                    <a:pt x="195" y="114"/>
                    <a:pt x="196" y="113"/>
                    <a:pt x="197" y="113"/>
                  </a:cubicBezTo>
                  <a:cubicBezTo>
                    <a:pt x="211" y="109"/>
                    <a:pt x="211" y="109"/>
                    <a:pt x="211" y="109"/>
                  </a:cubicBezTo>
                  <a:cubicBezTo>
                    <a:pt x="211" y="105"/>
                    <a:pt x="211" y="102"/>
                    <a:pt x="212" y="99"/>
                  </a:cubicBezTo>
                  <a:cubicBezTo>
                    <a:pt x="199" y="92"/>
                    <a:pt x="199" y="92"/>
                    <a:pt x="199" y="92"/>
                  </a:cubicBezTo>
                  <a:cubicBezTo>
                    <a:pt x="198" y="92"/>
                    <a:pt x="197" y="91"/>
                    <a:pt x="197" y="89"/>
                  </a:cubicBezTo>
                  <a:cubicBezTo>
                    <a:pt x="197" y="89"/>
                    <a:pt x="197" y="89"/>
                    <a:pt x="197" y="89"/>
                  </a:cubicBezTo>
                  <a:cubicBezTo>
                    <a:pt x="197" y="87"/>
                    <a:pt x="199" y="86"/>
                    <a:pt x="200" y="87"/>
                  </a:cubicBezTo>
                  <a:cubicBezTo>
                    <a:pt x="215" y="87"/>
                    <a:pt x="215" y="87"/>
                    <a:pt x="215" y="87"/>
                  </a:cubicBezTo>
                  <a:cubicBezTo>
                    <a:pt x="216" y="84"/>
                    <a:pt x="217" y="81"/>
                    <a:pt x="218" y="78"/>
                  </a:cubicBezTo>
                  <a:cubicBezTo>
                    <a:pt x="208" y="68"/>
                    <a:pt x="208" y="68"/>
                    <a:pt x="208" y="68"/>
                  </a:cubicBezTo>
                  <a:cubicBezTo>
                    <a:pt x="208" y="67"/>
                    <a:pt x="207" y="66"/>
                    <a:pt x="207" y="65"/>
                  </a:cubicBezTo>
                  <a:cubicBezTo>
                    <a:pt x="207" y="65"/>
                    <a:pt x="207" y="64"/>
                    <a:pt x="207" y="64"/>
                  </a:cubicBezTo>
                  <a:cubicBezTo>
                    <a:pt x="208" y="62"/>
                    <a:pt x="210" y="62"/>
                    <a:pt x="211" y="63"/>
                  </a:cubicBezTo>
                  <a:cubicBezTo>
                    <a:pt x="225" y="67"/>
                    <a:pt x="225" y="67"/>
                    <a:pt x="225" y="67"/>
                  </a:cubicBezTo>
                  <a:cubicBezTo>
                    <a:pt x="227" y="65"/>
                    <a:pt x="229" y="62"/>
                    <a:pt x="232" y="60"/>
                  </a:cubicBezTo>
                  <a:cubicBezTo>
                    <a:pt x="225" y="47"/>
                    <a:pt x="225" y="47"/>
                    <a:pt x="225" y="47"/>
                  </a:cubicBezTo>
                  <a:cubicBezTo>
                    <a:pt x="225" y="46"/>
                    <a:pt x="224" y="46"/>
                    <a:pt x="224" y="45"/>
                  </a:cubicBezTo>
                  <a:cubicBezTo>
                    <a:pt x="224" y="44"/>
                    <a:pt x="225" y="44"/>
                    <a:pt x="225" y="43"/>
                  </a:cubicBezTo>
                  <a:cubicBezTo>
                    <a:pt x="227" y="42"/>
                    <a:pt x="228" y="42"/>
                    <a:pt x="229" y="43"/>
                  </a:cubicBezTo>
                  <a:cubicBezTo>
                    <a:pt x="241" y="52"/>
                    <a:pt x="241" y="52"/>
                    <a:pt x="241" y="52"/>
                  </a:cubicBezTo>
                  <a:cubicBezTo>
                    <a:pt x="243" y="50"/>
                    <a:pt x="246" y="48"/>
                    <a:pt x="249" y="47"/>
                  </a:cubicBezTo>
                  <a:cubicBezTo>
                    <a:pt x="247" y="33"/>
                    <a:pt x="247" y="33"/>
                    <a:pt x="247" y="33"/>
                  </a:cubicBezTo>
                  <a:cubicBezTo>
                    <a:pt x="247" y="32"/>
                    <a:pt x="247" y="32"/>
                    <a:pt x="247" y="32"/>
                  </a:cubicBezTo>
                  <a:cubicBezTo>
                    <a:pt x="247" y="30"/>
                    <a:pt x="248" y="29"/>
                    <a:pt x="249" y="29"/>
                  </a:cubicBezTo>
                  <a:cubicBezTo>
                    <a:pt x="250" y="28"/>
                    <a:pt x="252" y="29"/>
                    <a:pt x="252" y="31"/>
                  </a:cubicBezTo>
                  <a:cubicBezTo>
                    <a:pt x="261" y="42"/>
                    <a:pt x="261" y="42"/>
                    <a:pt x="261" y="42"/>
                  </a:cubicBezTo>
                  <a:cubicBezTo>
                    <a:pt x="264" y="41"/>
                    <a:pt x="267" y="40"/>
                    <a:pt x="270" y="40"/>
                  </a:cubicBezTo>
                  <a:cubicBezTo>
                    <a:pt x="273" y="26"/>
                    <a:pt x="273" y="26"/>
                    <a:pt x="273" y="26"/>
                  </a:cubicBezTo>
                  <a:cubicBezTo>
                    <a:pt x="273" y="26"/>
                    <a:pt x="273" y="26"/>
                    <a:pt x="273" y="26"/>
                  </a:cubicBezTo>
                  <a:cubicBezTo>
                    <a:pt x="273" y="24"/>
                    <a:pt x="274" y="23"/>
                    <a:pt x="275" y="23"/>
                  </a:cubicBezTo>
                  <a:cubicBezTo>
                    <a:pt x="277" y="23"/>
                    <a:pt x="278" y="24"/>
                    <a:pt x="278" y="25"/>
                  </a:cubicBezTo>
                  <a:cubicBezTo>
                    <a:pt x="282" y="39"/>
                    <a:pt x="282" y="39"/>
                    <a:pt x="282" y="39"/>
                  </a:cubicBezTo>
                  <a:cubicBezTo>
                    <a:pt x="286" y="39"/>
                    <a:pt x="289" y="39"/>
                    <a:pt x="293" y="40"/>
                  </a:cubicBezTo>
                  <a:cubicBezTo>
                    <a:pt x="299" y="27"/>
                    <a:pt x="299" y="27"/>
                    <a:pt x="299" y="27"/>
                  </a:cubicBezTo>
                  <a:cubicBezTo>
                    <a:pt x="299" y="26"/>
                    <a:pt x="301" y="25"/>
                    <a:pt x="302" y="25"/>
                  </a:cubicBezTo>
                  <a:cubicBezTo>
                    <a:pt x="304" y="25"/>
                    <a:pt x="305" y="27"/>
                    <a:pt x="305" y="28"/>
                  </a:cubicBezTo>
                  <a:cubicBezTo>
                    <a:pt x="305" y="28"/>
                    <a:pt x="305" y="28"/>
                    <a:pt x="304" y="29"/>
                  </a:cubicBezTo>
                  <a:cubicBezTo>
                    <a:pt x="304" y="43"/>
                    <a:pt x="304" y="43"/>
                    <a:pt x="304" y="43"/>
                  </a:cubicBezTo>
                  <a:cubicBezTo>
                    <a:pt x="308" y="44"/>
                    <a:pt x="311" y="45"/>
                    <a:pt x="314" y="47"/>
                  </a:cubicBezTo>
                  <a:cubicBezTo>
                    <a:pt x="324" y="37"/>
                    <a:pt x="324" y="37"/>
                    <a:pt x="324" y="37"/>
                  </a:cubicBezTo>
                  <a:cubicBezTo>
                    <a:pt x="325" y="35"/>
                    <a:pt x="326" y="35"/>
                    <a:pt x="328" y="36"/>
                  </a:cubicBezTo>
                  <a:cubicBezTo>
                    <a:pt x="328" y="36"/>
                    <a:pt x="329" y="37"/>
                    <a:pt x="329" y="38"/>
                  </a:cubicBezTo>
                  <a:cubicBezTo>
                    <a:pt x="329" y="39"/>
                    <a:pt x="329" y="39"/>
                    <a:pt x="328" y="40"/>
                  </a:cubicBezTo>
                  <a:cubicBezTo>
                    <a:pt x="324" y="53"/>
                    <a:pt x="324" y="53"/>
                    <a:pt x="324" y="53"/>
                  </a:cubicBezTo>
                  <a:cubicBezTo>
                    <a:pt x="327" y="55"/>
                    <a:pt x="329" y="57"/>
                    <a:pt x="332" y="60"/>
                  </a:cubicBezTo>
                  <a:cubicBezTo>
                    <a:pt x="344" y="53"/>
                    <a:pt x="344" y="53"/>
                    <a:pt x="344" y="53"/>
                  </a:cubicBezTo>
                  <a:cubicBezTo>
                    <a:pt x="345" y="52"/>
                    <a:pt x="347" y="52"/>
                    <a:pt x="348" y="54"/>
                  </a:cubicBezTo>
                  <a:cubicBezTo>
                    <a:pt x="349" y="54"/>
                    <a:pt x="349" y="55"/>
                    <a:pt x="349" y="55"/>
                  </a:cubicBezTo>
                  <a:cubicBezTo>
                    <a:pt x="349" y="56"/>
                    <a:pt x="349" y="57"/>
                    <a:pt x="348" y="58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1" y="72"/>
                    <a:pt x="343" y="75"/>
                    <a:pt x="345" y="78"/>
                  </a:cubicBezTo>
                  <a:cubicBezTo>
                    <a:pt x="359" y="75"/>
                    <a:pt x="359" y="75"/>
                    <a:pt x="359" y="75"/>
                  </a:cubicBezTo>
                  <a:cubicBezTo>
                    <a:pt x="360" y="75"/>
                    <a:pt x="362" y="76"/>
                    <a:pt x="362" y="77"/>
                  </a:cubicBezTo>
                  <a:cubicBezTo>
                    <a:pt x="362" y="77"/>
                    <a:pt x="362" y="78"/>
                    <a:pt x="362" y="78"/>
                  </a:cubicBezTo>
                  <a:cubicBezTo>
                    <a:pt x="362" y="79"/>
                    <a:pt x="362" y="80"/>
                    <a:pt x="361" y="81"/>
                  </a:cubicBezTo>
                  <a:cubicBezTo>
                    <a:pt x="349" y="89"/>
                    <a:pt x="349" y="89"/>
                    <a:pt x="349" y="89"/>
                  </a:cubicBezTo>
                  <a:cubicBezTo>
                    <a:pt x="350" y="92"/>
                    <a:pt x="351" y="95"/>
                    <a:pt x="351" y="99"/>
                  </a:cubicBezTo>
                  <a:cubicBezTo>
                    <a:pt x="365" y="101"/>
                    <a:pt x="365" y="101"/>
                    <a:pt x="365" y="101"/>
                  </a:cubicBezTo>
                  <a:cubicBezTo>
                    <a:pt x="367" y="101"/>
                    <a:pt x="368" y="102"/>
                    <a:pt x="368" y="104"/>
                  </a:cubicBezTo>
                  <a:cubicBezTo>
                    <a:pt x="368" y="104"/>
                    <a:pt x="368" y="104"/>
                    <a:pt x="368" y="104"/>
                  </a:cubicBezTo>
                  <a:cubicBezTo>
                    <a:pt x="368" y="105"/>
                    <a:pt x="367" y="106"/>
                    <a:pt x="366" y="107"/>
                  </a:cubicBezTo>
                  <a:cubicBezTo>
                    <a:pt x="352" y="111"/>
                    <a:pt x="352" y="111"/>
                    <a:pt x="352" y="111"/>
                  </a:cubicBezTo>
                  <a:cubicBezTo>
                    <a:pt x="352" y="114"/>
                    <a:pt x="352" y="118"/>
                    <a:pt x="351" y="121"/>
                  </a:cubicBezTo>
                  <a:cubicBezTo>
                    <a:pt x="364" y="127"/>
                    <a:pt x="364" y="127"/>
                    <a:pt x="364" y="127"/>
                  </a:cubicBezTo>
                  <a:cubicBezTo>
                    <a:pt x="365" y="128"/>
                    <a:pt x="366" y="129"/>
                    <a:pt x="366" y="130"/>
                  </a:cubicBezTo>
                  <a:cubicBezTo>
                    <a:pt x="366" y="130"/>
                    <a:pt x="366" y="130"/>
                    <a:pt x="366" y="131"/>
                  </a:cubicBezTo>
                  <a:cubicBezTo>
                    <a:pt x="366" y="132"/>
                    <a:pt x="364" y="133"/>
                    <a:pt x="363" y="133"/>
                  </a:cubicBezTo>
                  <a:cubicBezTo>
                    <a:pt x="348" y="133"/>
                    <a:pt x="348" y="133"/>
                    <a:pt x="348" y="133"/>
                  </a:cubicBezTo>
                  <a:cubicBezTo>
                    <a:pt x="347" y="136"/>
                    <a:pt x="346" y="139"/>
                    <a:pt x="345" y="142"/>
                  </a:cubicBezTo>
                  <a:cubicBezTo>
                    <a:pt x="355" y="152"/>
                    <a:pt x="355" y="152"/>
                    <a:pt x="355" y="152"/>
                  </a:cubicBezTo>
                  <a:cubicBezTo>
                    <a:pt x="355" y="153"/>
                    <a:pt x="356" y="153"/>
                    <a:pt x="356" y="154"/>
                  </a:cubicBezTo>
                  <a:cubicBezTo>
                    <a:pt x="356" y="155"/>
                    <a:pt x="356" y="155"/>
                    <a:pt x="356" y="156"/>
                  </a:cubicBezTo>
                  <a:cubicBezTo>
                    <a:pt x="355" y="157"/>
                    <a:pt x="353" y="158"/>
                    <a:pt x="352" y="157"/>
                  </a:cubicBezTo>
                  <a:cubicBezTo>
                    <a:pt x="338" y="152"/>
                    <a:pt x="338" y="152"/>
                    <a:pt x="338" y="152"/>
                  </a:cubicBezTo>
                  <a:cubicBezTo>
                    <a:pt x="336" y="155"/>
                    <a:pt x="334" y="157"/>
                    <a:pt x="331" y="160"/>
                  </a:cubicBezTo>
                  <a:cubicBezTo>
                    <a:pt x="338" y="173"/>
                    <a:pt x="338" y="173"/>
                    <a:pt x="338" y="173"/>
                  </a:cubicBezTo>
                  <a:cubicBezTo>
                    <a:pt x="338" y="173"/>
                    <a:pt x="339" y="174"/>
                    <a:pt x="339" y="174"/>
                  </a:cubicBezTo>
                  <a:cubicBezTo>
                    <a:pt x="339" y="175"/>
                    <a:pt x="338" y="176"/>
                    <a:pt x="338" y="176"/>
                  </a:cubicBezTo>
                  <a:cubicBezTo>
                    <a:pt x="336" y="177"/>
                    <a:pt x="335" y="177"/>
                    <a:pt x="334" y="176"/>
                  </a:cubicBezTo>
                  <a:close/>
                  <a:moveTo>
                    <a:pt x="451" y="192"/>
                  </a:moveTo>
                  <a:cubicBezTo>
                    <a:pt x="442" y="195"/>
                    <a:pt x="442" y="195"/>
                    <a:pt x="442" y="195"/>
                  </a:cubicBezTo>
                  <a:cubicBezTo>
                    <a:pt x="442" y="197"/>
                    <a:pt x="442" y="200"/>
                    <a:pt x="441" y="202"/>
                  </a:cubicBezTo>
                  <a:cubicBezTo>
                    <a:pt x="450" y="206"/>
                    <a:pt x="450" y="206"/>
                    <a:pt x="450" y="206"/>
                  </a:cubicBezTo>
                  <a:cubicBezTo>
                    <a:pt x="451" y="206"/>
                    <a:pt x="451" y="207"/>
                    <a:pt x="451" y="208"/>
                  </a:cubicBezTo>
                  <a:cubicBezTo>
                    <a:pt x="451" y="208"/>
                    <a:pt x="451" y="208"/>
                    <a:pt x="451" y="208"/>
                  </a:cubicBezTo>
                  <a:cubicBezTo>
                    <a:pt x="451" y="209"/>
                    <a:pt x="450" y="210"/>
                    <a:pt x="449" y="210"/>
                  </a:cubicBezTo>
                  <a:cubicBezTo>
                    <a:pt x="439" y="210"/>
                    <a:pt x="439" y="210"/>
                    <a:pt x="439" y="210"/>
                  </a:cubicBezTo>
                  <a:cubicBezTo>
                    <a:pt x="439" y="212"/>
                    <a:pt x="438" y="214"/>
                    <a:pt x="437" y="216"/>
                  </a:cubicBezTo>
                  <a:cubicBezTo>
                    <a:pt x="444" y="223"/>
                    <a:pt x="444" y="223"/>
                    <a:pt x="444" y="223"/>
                  </a:cubicBezTo>
                  <a:cubicBezTo>
                    <a:pt x="444" y="223"/>
                    <a:pt x="444" y="224"/>
                    <a:pt x="444" y="224"/>
                  </a:cubicBezTo>
                  <a:cubicBezTo>
                    <a:pt x="444" y="225"/>
                    <a:pt x="444" y="225"/>
                    <a:pt x="444" y="225"/>
                  </a:cubicBezTo>
                  <a:cubicBezTo>
                    <a:pt x="444" y="226"/>
                    <a:pt x="443" y="226"/>
                    <a:pt x="442" y="226"/>
                  </a:cubicBezTo>
                  <a:cubicBezTo>
                    <a:pt x="433" y="223"/>
                    <a:pt x="433" y="223"/>
                    <a:pt x="433" y="223"/>
                  </a:cubicBezTo>
                  <a:cubicBezTo>
                    <a:pt x="431" y="224"/>
                    <a:pt x="430" y="226"/>
                    <a:pt x="428" y="228"/>
                  </a:cubicBezTo>
                  <a:cubicBezTo>
                    <a:pt x="433" y="236"/>
                    <a:pt x="433" y="236"/>
                    <a:pt x="433" y="236"/>
                  </a:cubicBezTo>
                  <a:cubicBezTo>
                    <a:pt x="433" y="237"/>
                    <a:pt x="433" y="237"/>
                    <a:pt x="433" y="237"/>
                  </a:cubicBezTo>
                  <a:cubicBezTo>
                    <a:pt x="433" y="238"/>
                    <a:pt x="433" y="239"/>
                    <a:pt x="432" y="239"/>
                  </a:cubicBezTo>
                  <a:cubicBezTo>
                    <a:pt x="431" y="240"/>
                    <a:pt x="430" y="239"/>
                    <a:pt x="430" y="239"/>
                  </a:cubicBezTo>
                  <a:cubicBezTo>
                    <a:pt x="422" y="233"/>
                    <a:pt x="422" y="233"/>
                    <a:pt x="422" y="233"/>
                  </a:cubicBezTo>
                  <a:cubicBezTo>
                    <a:pt x="420" y="234"/>
                    <a:pt x="418" y="235"/>
                    <a:pt x="416" y="236"/>
                  </a:cubicBezTo>
                  <a:cubicBezTo>
                    <a:pt x="418" y="246"/>
                    <a:pt x="418" y="246"/>
                    <a:pt x="418" y="246"/>
                  </a:cubicBezTo>
                  <a:cubicBezTo>
                    <a:pt x="418" y="246"/>
                    <a:pt x="418" y="246"/>
                    <a:pt x="418" y="247"/>
                  </a:cubicBezTo>
                  <a:cubicBezTo>
                    <a:pt x="418" y="247"/>
                    <a:pt x="417" y="248"/>
                    <a:pt x="417" y="248"/>
                  </a:cubicBezTo>
                  <a:cubicBezTo>
                    <a:pt x="416" y="249"/>
                    <a:pt x="415" y="248"/>
                    <a:pt x="414" y="247"/>
                  </a:cubicBezTo>
                  <a:cubicBezTo>
                    <a:pt x="409" y="239"/>
                    <a:pt x="409" y="239"/>
                    <a:pt x="409" y="239"/>
                  </a:cubicBezTo>
                  <a:cubicBezTo>
                    <a:pt x="407" y="240"/>
                    <a:pt x="404" y="241"/>
                    <a:pt x="402" y="241"/>
                  </a:cubicBezTo>
                  <a:cubicBezTo>
                    <a:pt x="401" y="250"/>
                    <a:pt x="401" y="250"/>
                    <a:pt x="401" y="250"/>
                  </a:cubicBezTo>
                  <a:cubicBezTo>
                    <a:pt x="401" y="250"/>
                    <a:pt x="401" y="251"/>
                    <a:pt x="401" y="251"/>
                  </a:cubicBezTo>
                  <a:cubicBezTo>
                    <a:pt x="401" y="252"/>
                    <a:pt x="400" y="252"/>
                    <a:pt x="399" y="252"/>
                  </a:cubicBezTo>
                  <a:cubicBezTo>
                    <a:pt x="399" y="252"/>
                    <a:pt x="399" y="252"/>
                    <a:pt x="399" y="252"/>
                  </a:cubicBezTo>
                  <a:cubicBezTo>
                    <a:pt x="398" y="252"/>
                    <a:pt x="397" y="252"/>
                    <a:pt x="397" y="251"/>
                  </a:cubicBezTo>
                  <a:cubicBezTo>
                    <a:pt x="394" y="242"/>
                    <a:pt x="394" y="242"/>
                    <a:pt x="394" y="242"/>
                  </a:cubicBezTo>
                  <a:cubicBezTo>
                    <a:pt x="392" y="242"/>
                    <a:pt x="390" y="241"/>
                    <a:pt x="387" y="241"/>
                  </a:cubicBezTo>
                  <a:cubicBezTo>
                    <a:pt x="383" y="250"/>
                    <a:pt x="383" y="250"/>
                    <a:pt x="383" y="250"/>
                  </a:cubicBezTo>
                  <a:cubicBezTo>
                    <a:pt x="383" y="251"/>
                    <a:pt x="382" y="251"/>
                    <a:pt x="381" y="251"/>
                  </a:cubicBezTo>
                  <a:cubicBezTo>
                    <a:pt x="380" y="251"/>
                    <a:pt x="379" y="250"/>
                    <a:pt x="379" y="249"/>
                  </a:cubicBezTo>
                  <a:cubicBezTo>
                    <a:pt x="379" y="249"/>
                    <a:pt x="379" y="249"/>
                    <a:pt x="379" y="249"/>
                  </a:cubicBezTo>
                  <a:cubicBezTo>
                    <a:pt x="380" y="239"/>
                    <a:pt x="380" y="239"/>
                    <a:pt x="380" y="239"/>
                  </a:cubicBezTo>
                  <a:cubicBezTo>
                    <a:pt x="377" y="238"/>
                    <a:pt x="375" y="237"/>
                    <a:pt x="373" y="236"/>
                  </a:cubicBezTo>
                  <a:cubicBezTo>
                    <a:pt x="367" y="243"/>
                    <a:pt x="367" y="243"/>
                    <a:pt x="367" y="243"/>
                  </a:cubicBezTo>
                  <a:cubicBezTo>
                    <a:pt x="366" y="244"/>
                    <a:pt x="365" y="244"/>
                    <a:pt x="364" y="244"/>
                  </a:cubicBezTo>
                  <a:cubicBezTo>
                    <a:pt x="364" y="243"/>
                    <a:pt x="363" y="243"/>
                    <a:pt x="363" y="242"/>
                  </a:cubicBezTo>
                  <a:cubicBezTo>
                    <a:pt x="363" y="242"/>
                    <a:pt x="363" y="242"/>
                    <a:pt x="364" y="241"/>
                  </a:cubicBezTo>
                  <a:cubicBezTo>
                    <a:pt x="367" y="232"/>
                    <a:pt x="367" y="232"/>
                    <a:pt x="367" y="232"/>
                  </a:cubicBezTo>
                  <a:cubicBezTo>
                    <a:pt x="365" y="231"/>
                    <a:pt x="363" y="229"/>
                    <a:pt x="361" y="228"/>
                  </a:cubicBezTo>
                  <a:cubicBezTo>
                    <a:pt x="353" y="232"/>
                    <a:pt x="353" y="232"/>
                    <a:pt x="353" y="232"/>
                  </a:cubicBezTo>
                  <a:cubicBezTo>
                    <a:pt x="352" y="233"/>
                    <a:pt x="351" y="233"/>
                    <a:pt x="350" y="232"/>
                  </a:cubicBezTo>
                  <a:cubicBezTo>
                    <a:pt x="350" y="232"/>
                    <a:pt x="350" y="231"/>
                    <a:pt x="350" y="231"/>
                  </a:cubicBezTo>
                  <a:cubicBezTo>
                    <a:pt x="350" y="230"/>
                    <a:pt x="350" y="230"/>
                    <a:pt x="351" y="229"/>
                  </a:cubicBezTo>
                  <a:cubicBezTo>
                    <a:pt x="356" y="222"/>
                    <a:pt x="356" y="222"/>
                    <a:pt x="356" y="222"/>
                  </a:cubicBezTo>
                  <a:cubicBezTo>
                    <a:pt x="355" y="220"/>
                    <a:pt x="354" y="218"/>
                    <a:pt x="353" y="216"/>
                  </a:cubicBezTo>
                  <a:cubicBezTo>
                    <a:pt x="343" y="217"/>
                    <a:pt x="343" y="217"/>
                    <a:pt x="343" y="217"/>
                  </a:cubicBezTo>
                  <a:cubicBezTo>
                    <a:pt x="342" y="218"/>
                    <a:pt x="341" y="217"/>
                    <a:pt x="341" y="216"/>
                  </a:cubicBezTo>
                  <a:cubicBezTo>
                    <a:pt x="341" y="216"/>
                    <a:pt x="341" y="216"/>
                    <a:pt x="341" y="216"/>
                  </a:cubicBezTo>
                  <a:cubicBezTo>
                    <a:pt x="341" y="215"/>
                    <a:pt x="341" y="214"/>
                    <a:pt x="342" y="214"/>
                  </a:cubicBezTo>
                  <a:cubicBezTo>
                    <a:pt x="350" y="208"/>
                    <a:pt x="350" y="208"/>
                    <a:pt x="350" y="208"/>
                  </a:cubicBezTo>
                  <a:cubicBezTo>
                    <a:pt x="349" y="206"/>
                    <a:pt x="349" y="204"/>
                    <a:pt x="348" y="202"/>
                  </a:cubicBezTo>
                  <a:cubicBezTo>
                    <a:pt x="339" y="200"/>
                    <a:pt x="339" y="200"/>
                    <a:pt x="339" y="200"/>
                  </a:cubicBezTo>
                  <a:cubicBezTo>
                    <a:pt x="338" y="200"/>
                    <a:pt x="337" y="200"/>
                    <a:pt x="337" y="199"/>
                  </a:cubicBezTo>
                  <a:cubicBezTo>
                    <a:pt x="337" y="199"/>
                    <a:pt x="337" y="198"/>
                    <a:pt x="337" y="198"/>
                  </a:cubicBezTo>
                  <a:cubicBezTo>
                    <a:pt x="337" y="197"/>
                    <a:pt x="338" y="197"/>
                    <a:pt x="339" y="197"/>
                  </a:cubicBezTo>
                  <a:cubicBezTo>
                    <a:pt x="348" y="194"/>
                    <a:pt x="348" y="194"/>
                    <a:pt x="348" y="194"/>
                  </a:cubicBezTo>
                  <a:cubicBezTo>
                    <a:pt x="348" y="191"/>
                    <a:pt x="348" y="189"/>
                    <a:pt x="348" y="187"/>
                  </a:cubicBezTo>
                  <a:cubicBezTo>
                    <a:pt x="340" y="183"/>
                    <a:pt x="340" y="183"/>
                    <a:pt x="340" y="183"/>
                  </a:cubicBezTo>
                  <a:cubicBezTo>
                    <a:pt x="339" y="182"/>
                    <a:pt x="338" y="182"/>
                    <a:pt x="338" y="181"/>
                  </a:cubicBezTo>
                  <a:cubicBezTo>
                    <a:pt x="338" y="181"/>
                    <a:pt x="338" y="181"/>
                    <a:pt x="338" y="180"/>
                  </a:cubicBezTo>
                  <a:cubicBezTo>
                    <a:pt x="339" y="179"/>
                    <a:pt x="340" y="179"/>
                    <a:pt x="341" y="179"/>
                  </a:cubicBezTo>
                  <a:cubicBezTo>
                    <a:pt x="350" y="179"/>
                    <a:pt x="350" y="179"/>
                    <a:pt x="350" y="179"/>
                  </a:cubicBezTo>
                  <a:cubicBezTo>
                    <a:pt x="351" y="177"/>
                    <a:pt x="352" y="175"/>
                    <a:pt x="353" y="173"/>
                  </a:cubicBezTo>
                  <a:cubicBezTo>
                    <a:pt x="346" y="166"/>
                    <a:pt x="346" y="166"/>
                    <a:pt x="346" y="166"/>
                  </a:cubicBezTo>
                  <a:cubicBezTo>
                    <a:pt x="346" y="166"/>
                    <a:pt x="345" y="165"/>
                    <a:pt x="345" y="165"/>
                  </a:cubicBezTo>
                  <a:cubicBezTo>
                    <a:pt x="345" y="164"/>
                    <a:pt x="345" y="164"/>
                    <a:pt x="345" y="164"/>
                  </a:cubicBezTo>
                  <a:cubicBezTo>
                    <a:pt x="346" y="163"/>
                    <a:pt x="347" y="163"/>
                    <a:pt x="348" y="163"/>
                  </a:cubicBezTo>
                  <a:cubicBezTo>
                    <a:pt x="357" y="166"/>
                    <a:pt x="357" y="166"/>
                    <a:pt x="357" y="166"/>
                  </a:cubicBezTo>
                  <a:cubicBezTo>
                    <a:pt x="358" y="164"/>
                    <a:pt x="360" y="163"/>
                    <a:pt x="361" y="161"/>
                  </a:cubicBezTo>
                  <a:cubicBezTo>
                    <a:pt x="357" y="153"/>
                    <a:pt x="357" y="153"/>
                    <a:pt x="357" y="153"/>
                  </a:cubicBezTo>
                  <a:cubicBezTo>
                    <a:pt x="357" y="152"/>
                    <a:pt x="357" y="152"/>
                    <a:pt x="357" y="151"/>
                  </a:cubicBezTo>
                  <a:cubicBezTo>
                    <a:pt x="357" y="151"/>
                    <a:pt x="357" y="150"/>
                    <a:pt x="357" y="150"/>
                  </a:cubicBezTo>
                  <a:cubicBezTo>
                    <a:pt x="358" y="149"/>
                    <a:pt x="359" y="149"/>
                    <a:pt x="360" y="150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9" y="155"/>
                    <a:pt x="371" y="153"/>
                    <a:pt x="373" y="152"/>
                  </a:cubicBezTo>
                  <a:cubicBezTo>
                    <a:pt x="372" y="143"/>
                    <a:pt x="372" y="143"/>
                    <a:pt x="372" y="143"/>
                  </a:cubicBezTo>
                  <a:cubicBezTo>
                    <a:pt x="372" y="143"/>
                    <a:pt x="372" y="143"/>
                    <a:pt x="372" y="142"/>
                  </a:cubicBezTo>
                  <a:cubicBezTo>
                    <a:pt x="372" y="142"/>
                    <a:pt x="372" y="141"/>
                    <a:pt x="373" y="141"/>
                  </a:cubicBezTo>
                  <a:cubicBezTo>
                    <a:pt x="374" y="140"/>
                    <a:pt x="375" y="141"/>
                    <a:pt x="375" y="142"/>
                  </a:cubicBezTo>
                  <a:cubicBezTo>
                    <a:pt x="381" y="149"/>
                    <a:pt x="381" y="149"/>
                    <a:pt x="381" y="149"/>
                  </a:cubicBezTo>
                  <a:cubicBezTo>
                    <a:pt x="383" y="149"/>
                    <a:pt x="385" y="148"/>
                    <a:pt x="387" y="148"/>
                  </a:cubicBezTo>
                  <a:cubicBezTo>
                    <a:pt x="389" y="138"/>
                    <a:pt x="389" y="138"/>
                    <a:pt x="389" y="138"/>
                  </a:cubicBezTo>
                  <a:cubicBezTo>
                    <a:pt x="389" y="138"/>
                    <a:pt x="389" y="138"/>
                    <a:pt x="389" y="138"/>
                  </a:cubicBezTo>
                  <a:cubicBezTo>
                    <a:pt x="389" y="137"/>
                    <a:pt x="390" y="136"/>
                    <a:pt x="391" y="136"/>
                  </a:cubicBezTo>
                  <a:cubicBezTo>
                    <a:pt x="392" y="136"/>
                    <a:pt x="393" y="137"/>
                    <a:pt x="393" y="138"/>
                  </a:cubicBezTo>
                  <a:cubicBezTo>
                    <a:pt x="395" y="147"/>
                    <a:pt x="395" y="147"/>
                    <a:pt x="395" y="147"/>
                  </a:cubicBezTo>
                  <a:cubicBezTo>
                    <a:pt x="398" y="147"/>
                    <a:pt x="400" y="147"/>
                    <a:pt x="402" y="148"/>
                  </a:cubicBezTo>
                  <a:cubicBezTo>
                    <a:pt x="407" y="139"/>
                    <a:pt x="407" y="139"/>
                    <a:pt x="407" y="139"/>
                  </a:cubicBezTo>
                  <a:cubicBezTo>
                    <a:pt x="407" y="138"/>
                    <a:pt x="408" y="138"/>
                    <a:pt x="409" y="138"/>
                  </a:cubicBezTo>
                  <a:cubicBezTo>
                    <a:pt x="410" y="138"/>
                    <a:pt x="410" y="139"/>
                    <a:pt x="410" y="140"/>
                  </a:cubicBezTo>
                  <a:cubicBezTo>
                    <a:pt x="410" y="140"/>
                    <a:pt x="410" y="140"/>
                    <a:pt x="410" y="140"/>
                  </a:cubicBezTo>
                  <a:cubicBezTo>
                    <a:pt x="410" y="150"/>
                    <a:pt x="410" y="150"/>
                    <a:pt x="410" y="150"/>
                  </a:cubicBezTo>
                  <a:cubicBezTo>
                    <a:pt x="412" y="150"/>
                    <a:pt x="414" y="151"/>
                    <a:pt x="416" y="152"/>
                  </a:cubicBezTo>
                  <a:cubicBezTo>
                    <a:pt x="423" y="146"/>
                    <a:pt x="423" y="146"/>
                    <a:pt x="423" y="146"/>
                  </a:cubicBezTo>
                  <a:cubicBezTo>
                    <a:pt x="424" y="145"/>
                    <a:pt x="425" y="145"/>
                    <a:pt x="426" y="145"/>
                  </a:cubicBezTo>
                  <a:cubicBezTo>
                    <a:pt x="426" y="145"/>
                    <a:pt x="426" y="146"/>
                    <a:pt x="426" y="147"/>
                  </a:cubicBezTo>
                  <a:cubicBezTo>
                    <a:pt x="426" y="147"/>
                    <a:pt x="426" y="147"/>
                    <a:pt x="426" y="148"/>
                  </a:cubicBezTo>
                  <a:cubicBezTo>
                    <a:pt x="423" y="157"/>
                    <a:pt x="423" y="157"/>
                    <a:pt x="423" y="157"/>
                  </a:cubicBezTo>
                  <a:cubicBezTo>
                    <a:pt x="425" y="158"/>
                    <a:pt x="427" y="159"/>
                    <a:pt x="428" y="161"/>
                  </a:cubicBezTo>
                  <a:cubicBezTo>
                    <a:pt x="437" y="157"/>
                    <a:pt x="437" y="157"/>
                    <a:pt x="437" y="157"/>
                  </a:cubicBezTo>
                  <a:cubicBezTo>
                    <a:pt x="437" y="156"/>
                    <a:pt x="439" y="156"/>
                    <a:pt x="439" y="157"/>
                  </a:cubicBezTo>
                  <a:cubicBezTo>
                    <a:pt x="440" y="157"/>
                    <a:pt x="440" y="158"/>
                    <a:pt x="440" y="158"/>
                  </a:cubicBezTo>
                  <a:cubicBezTo>
                    <a:pt x="440" y="159"/>
                    <a:pt x="440" y="159"/>
                    <a:pt x="439" y="160"/>
                  </a:cubicBezTo>
                  <a:cubicBezTo>
                    <a:pt x="433" y="167"/>
                    <a:pt x="433" y="167"/>
                    <a:pt x="433" y="167"/>
                  </a:cubicBezTo>
                  <a:cubicBezTo>
                    <a:pt x="435" y="169"/>
                    <a:pt x="436" y="171"/>
                    <a:pt x="437" y="173"/>
                  </a:cubicBezTo>
                  <a:cubicBezTo>
                    <a:pt x="446" y="172"/>
                    <a:pt x="446" y="172"/>
                    <a:pt x="446" y="172"/>
                  </a:cubicBezTo>
                  <a:cubicBezTo>
                    <a:pt x="447" y="171"/>
                    <a:pt x="448" y="172"/>
                    <a:pt x="449" y="173"/>
                  </a:cubicBezTo>
                  <a:cubicBezTo>
                    <a:pt x="449" y="173"/>
                    <a:pt x="449" y="173"/>
                    <a:pt x="449" y="173"/>
                  </a:cubicBezTo>
                  <a:cubicBezTo>
                    <a:pt x="449" y="174"/>
                    <a:pt x="448" y="175"/>
                    <a:pt x="448" y="175"/>
                  </a:cubicBezTo>
                  <a:cubicBezTo>
                    <a:pt x="440" y="180"/>
                    <a:pt x="440" y="180"/>
                    <a:pt x="440" y="180"/>
                  </a:cubicBezTo>
                  <a:cubicBezTo>
                    <a:pt x="441" y="183"/>
                    <a:pt x="441" y="185"/>
                    <a:pt x="441" y="187"/>
                  </a:cubicBezTo>
                  <a:cubicBezTo>
                    <a:pt x="451" y="189"/>
                    <a:pt x="451" y="189"/>
                    <a:pt x="451" y="189"/>
                  </a:cubicBezTo>
                  <a:cubicBezTo>
                    <a:pt x="452" y="188"/>
                    <a:pt x="453" y="189"/>
                    <a:pt x="453" y="190"/>
                  </a:cubicBezTo>
                  <a:cubicBezTo>
                    <a:pt x="453" y="190"/>
                    <a:pt x="453" y="190"/>
                    <a:pt x="453" y="190"/>
                  </a:cubicBezTo>
                  <a:cubicBezTo>
                    <a:pt x="453" y="191"/>
                    <a:pt x="452" y="192"/>
                    <a:pt x="451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24"/>
            <p:cNvSpPr>
              <a:spLocks noChangeArrowheads="1"/>
            </p:cNvSpPr>
            <p:nvPr/>
          </p:nvSpPr>
          <p:spPr bwMode="auto">
            <a:xfrm>
              <a:off x="-1333500" y="3128963"/>
              <a:ext cx="77788" cy="793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5"/>
            <p:cNvSpPr>
              <a:spLocks/>
            </p:cNvSpPr>
            <p:nvPr/>
          </p:nvSpPr>
          <p:spPr bwMode="auto">
            <a:xfrm>
              <a:off x="-1423988" y="2082800"/>
              <a:ext cx="889000" cy="357188"/>
            </a:xfrm>
            <a:custGeom>
              <a:avLst/>
              <a:gdLst>
                <a:gd name="T0" fmla="*/ 218 w 237"/>
                <a:gd name="T1" fmla="*/ 95 h 95"/>
                <a:gd name="T2" fmla="*/ 217 w 237"/>
                <a:gd name="T3" fmla="*/ 94 h 95"/>
                <a:gd name="T4" fmla="*/ 234 w 237"/>
                <a:gd name="T5" fmla="*/ 82 h 95"/>
                <a:gd name="T6" fmla="*/ 237 w 237"/>
                <a:gd name="T7" fmla="*/ 79 h 95"/>
                <a:gd name="T8" fmla="*/ 236 w 237"/>
                <a:gd name="T9" fmla="*/ 77 h 95"/>
                <a:gd name="T10" fmla="*/ 231 w 237"/>
                <a:gd name="T11" fmla="*/ 75 h 95"/>
                <a:gd name="T12" fmla="*/ 211 w 237"/>
                <a:gd name="T13" fmla="*/ 78 h 95"/>
                <a:gd name="T14" fmla="*/ 203 w 237"/>
                <a:gd name="T15" fmla="*/ 66 h 95"/>
                <a:gd name="T16" fmla="*/ 216 w 237"/>
                <a:gd name="T17" fmla="*/ 49 h 95"/>
                <a:gd name="T18" fmla="*/ 217 w 237"/>
                <a:gd name="T19" fmla="*/ 46 h 95"/>
                <a:gd name="T20" fmla="*/ 216 w 237"/>
                <a:gd name="T21" fmla="*/ 44 h 95"/>
                <a:gd name="T22" fmla="*/ 211 w 237"/>
                <a:gd name="T23" fmla="*/ 43 h 95"/>
                <a:gd name="T24" fmla="*/ 192 w 237"/>
                <a:gd name="T25" fmla="*/ 53 h 95"/>
                <a:gd name="T26" fmla="*/ 181 w 237"/>
                <a:gd name="T27" fmla="*/ 43 h 95"/>
                <a:gd name="T28" fmla="*/ 188 w 237"/>
                <a:gd name="T29" fmla="*/ 24 h 95"/>
                <a:gd name="T30" fmla="*/ 189 w 237"/>
                <a:gd name="T31" fmla="*/ 22 h 95"/>
                <a:gd name="T32" fmla="*/ 187 w 237"/>
                <a:gd name="T33" fmla="*/ 18 h 95"/>
                <a:gd name="T34" fmla="*/ 181 w 237"/>
                <a:gd name="T35" fmla="*/ 20 h 95"/>
                <a:gd name="T36" fmla="*/ 167 w 237"/>
                <a:gd name="T37" fmla="*/ 34 h 95"/>
                <a:gd name="T38" fmla="*/ 153 w 237"/>
                <a:gd name="T39" fmla="*/ 28 h 95"/>
                <a:gd name="T40" fmla="*/ 154 w 237"/>
                <a:gd name="T41" fmla="*/ 8 h 95"/>
                <a:gd name="T42" fmla="*/ 154 w 237"/>
                <a:gd name="T43" fmla="*/ 7 h 95"/>
                <a:gd name="T44" fmla="*/ 151 w 237"/>
                <a:gd name="T45" fmla="*/ 3 h 95"/>
                <a:gd name="T46" fmla="*/ 146 w 237"/>
                <a:gd name="T47" fmla="*/ 6 h 95"/>
                <a:gd name="T48" fmla="*/ 137 w 237"/>
                <a:gd name="T49" fmla="*/ 24 h 95"/>
                <a:gd name="T50" fmla="*/ 122 w 237"/>
                <a:gd name="T51" fmla="*/ 23 h 95"/>
                <a:gd name="T52" fmla="*/ 116 w 237"/>
                <a:gd name="T53" fmla="*/ 4 h 95"/>
                <a:gd name="T54" fmla="*/ 112 w 237"/>
                <a:gd name="T55" fmla="*/ 0 h 95"/>
                <a:gd name="T56" fmla="*/ 108 w 237"/>
                <a:gd name="T57" fmla="*/ 4 h 95"/>
                <a:gd name="T58" fmla="*/ 108 w 237"/>
                <a:gd name="T59" fmla="*/ 4 h 95"/>
                <a:gd name="T60" fmla="*/ 105 w 237"/>
                <a:gd name="T61" fmla="*/ 24 h 95"/>
                <a:gd name="T62" fmla="*/ 91 w 237"/>
                <a:gd name="T63" fmla="*/ 28 h 95"/>
                <a:gd name="T64" fmla="*/ 79 w 237"/>
                <a:gd name="T65" fmla="*/ 11 h 95"/>
                <a:gd name="T66" fmla="*/ 74 w 237"/>
                <a:gd name="T67" fmla="*/ 9 h 95"/>
                <a:gd name="T68" fmla="*/ 71 w 237"/>
                <a:gd name="T69" fmla="*/ 12 h 95"/>
                <a:gd name="T70" fmla="*/ 72 w 237"/>
                <a:gd name="T71" fmla="*/ 14 h 95"/>
                <a:gd name="T72" fmla="*/ 75 w 237"/>
                <a:gd name="T73" fmla="*/ 34 h 95"/>
                <a:gd name="T74" fmla="*/ 63 w 237"/>
                <a:gd name="T75" fmla="*/ 42 h 95"/>
                <a:gd name="T76" fmla="*/ 46 w 237"/>
                <a:gd name="T77" fmla="*/ 29 h 95"/>
                <a:gd name="T78" fmla="*/ 41 w 237"/>
                <a:gd name="T79" fmla="*/ 29 h 95"/>
                <a:gd name="T80" fmla="*/ 39 w 237"/>
                <a:gd name="T81" fmla="*/ 32 h 95"/>
                <a:gd name="T82" fmla="*/ 40 w 237"/>
                <a:gd name="T83" fmla="*/ 34 h 95"/>
                <a:gd name="T84" fmla="*/ 49 w 237"/>
                <a:gd name="T85" fmla="*/ 53 h 95"/>
                <a:gd name="T86" fmla="*/ 40 w 237"/>
                <a:gd name="T87" fmla="*/ 64 h 95"/>
                <a:gd name="T88" fmla="*/ 21 w 237"/>
                <a:gd name="T89" fmla="*/ 57 h 95"/>
                <a:gd name="T90" fmla="*/ 15 w 237"/>
                <a:gd name="T91" fmla="*/ 58 h 95"/>
                <a:gd name="T92" fmla="*/ 14 w 237"/>
                <a:gd name="T93" fmla="*/ 60 h 95"/>
                <a:gd name="T94" fmla="*/ 16 w 237"/>
                <a:gd name="T95" fmla="*/ 64 h 95"/>
                <a:gd name="T96" fmla="*/ 31 w 237"/>
                <a:gd name="T97" fmla="*/ 78 h 95"/>
                <a:gd name="T98" fmla="*/ 25 w 237"/>
                <a:gd name="T99" fmla="*/ 92 h 95"/>
                <a:gd name="T100" fmla="*/ 5 w 237"/>
                <a:gd name="T101" fmla="*/ 91 h 95"/>
                <a:gd name="T102" fmla="*/ 0 w 237"/>
                <a:gd name="T103" fmla="*/ 94 h 95"/>
                <a:gd name="T104" fmla="*/ 0 w 237"/>
                <a:gd name="T105" fmla="*/ 95 h 95"/>
                <a:gd name="T106" fmla="*/ 218 w 237"/>
                <a:gd name="T107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7" h="95">
                  <a:moveTo>
                    <a:pt x="218" y="95"/>
                  </a:moveTo>
                  <a:cubicBezTo>
                    <a:pt x="218" y="95"/>
                    <a:pt x="217" y="94"/>
                    <a:pt x="217" y="94"/>
                  </a:cubicBezTo>
                  <a:cubicBezTo>
                    <a:pt x="234" y="82"/>
                    <a:pt x="234" y="82"/>
                    <a:pt x="234" y="82"/>
                  </a:cubicBezTo>
                  <a:cubicBezTo>
                    <a:pt x="236" y="82"/>
                    <a:pt x="237" y="80"/>
                    <a:pt x="237" y="79"/>
                  </a:cubicBezTo>
                  <a:cubicBezTo>
                    <a:pt x="237" y="78"/>
                    <a:pt x="236" y="78"/>
                    <a:pt x="236" y="77"/>
                  </a:cubicBezTo>
                  <a:cubicBezTo>
                    <a:pt x="235" y="75"/>
                    <a:pt x="233" y="74"/>
                    <a:pt x="231" y="75"/>
                  </a:cubicBezTo>
                  <a:cubicBezTo>
                    <a:pt x="211" y="78"/>
                    <a:pt x="211" y="78"/>
                    <a:pt x="211" y="78"/>
                  </a:cubicBezTo>
                  <a:cubicBezTo>
                    <a:pt x="209" y="74"/>
                    <a:pt x="206" y="70"/>
                    <a:pt x="203" y="66"/>
                  </a:cubicBezTo>
                  <a:cubicBezTo>
                    <a:pt x="216" y="49"/>
                    <a:pt x="216" y="49"/>
                    <a:pt x="216" y="49"/>
                  </a:cubicBezTo>
                  <a:cubicBezTo>
                    <a:pt x="217" y="49"/>
                    <a:pt x="217" y="48"/>
                    <a:pt x="217" y="46"/>
                  </a:cubicBezTo>
                  <a:cubicBezTo>
                    <a:pt x="217" y="46"/>
                    <a:pt x="217" y="45"/>
                    <a:pt x="216" y="44"/>
                  </a:cubicBezTo>
                  <a:cubicBezTo>
                    <a:pt x="215" y="42"/>
                    <a:pt x="212" y="42"/>
                    <a:pt x="211" y="43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89" y="49"/>
                    <a:pt x="185" y="46"/>
                    <a:pt x="181" y="43"/>
                  </a:cubicBezTo>
                  <a:cubicBezTo>
                    <a:pt x="188" y="24"/>
                    <a:pt x="188" y="24"/>
                    <a:pt x="188" y="24"/>
                  </a:cubicBezTo>
                  <a:cubicBezTo>
                    <a:pt x="188" y="23"/>
                    <a:pt x="189" y="22"/>
                    <a:pt x="189" y="22"/>
                  </a:cubicBezTo>
                  <a:cubicBezTo>
                    <a:pt x="189" y="20"/>
                    <a:pt x="188" y="19"/>
                    <a:pt x="187" y="18"/>
                  </a:cubicBezTo>
                  <a:cubicBezTo>
                    <a:pt x="185" y="17"/>
                    <a:pt x="182" y="18"/>
                    <a:pt x="181" y="20"/>
                  </a:cubicBezTo>
                  <a:cubicBezTo>
                    <a:pt x="167" y="34"/>
                    <a:pt x="167" y="34"/>
                    <a:pt x="167" y="34"/>
                  </a:cubicBezTo>
                  <a:cubicBezTo>
                    <a:pt x="162" y="32"/>
                    <a:pt x="158" y="30"/>
                    <a:pt x="153" y="28"/>
                  </a:cubicBezTo>
                  <a:cubicBezTo>
                    <a:pt x="154" y="8"/>
                    <a:pt x="154" y="8"/>
                    <a:pt x="154" y="8"/>
                  </a:cubicBezTo>
                  <a:cubicBezTo>
                    <a:pt x="154" y="8"/>
                    <a:pt x="154" y="7"/>
                    <a:pt x="154" y="7"/>
                  </a:cubicBezTo>
                  <a:cubicBezTo>
                    <a:pt x="154" y="5"/>
                    <a:pt x="153" y="4"/>
                    <a:pt x="151" y="3"/>
                  </a:cubicBezTo>
                  <a:cubicBezTo>
                    <a:pt x="149" y="3"/>
                    <a:pt x="146" y="4"/>
                    <a:pt x="146" y="6"/>
                  </a:cubicBezTo>
                  <a:cubicBezTo>
                    <a:pt x="137" y="24"/>
                    <a:pt x="137" y="24"/>
                    <a:pt x="137" y="24"/>
                  </a:cubicBezTo>
                  <a:cubicBezTo>
                    <a:pt x="132" y="24"/>
                    <a:pt x="127" y="23"/>
                    <a:pt x="122" y="23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16" y="1"/>
                    <a:pt x="114" y="0"/>
                    <a:pt x="112" y="0"/>
                  </a:cubicBezTo>
                  <a:cubicBezTo>
                    <a:pt x="110" y="0"/>
                    <a:pt x="108" y="2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5" y="24"/>
                    <a:pt x="105" y="24"/>
                    <a:pt x="105" y="24"/>
                  </a:cubicBezTo>
                  <a:cubicBezTo>
                    <a:pt x="100" y="25"/>
                    <a:pt x="95" y="26"/>
                    <a:pt x="91" y="28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8" y="9"/>
                    <a:pt x="76" y="8"/>
                    <a:pt x="74" y="9"/>
                  </a:cubicBezTo>
                  <a:cubicBezTo>
                    <a:pt x="72" y="9"/>
                    <a:pt x="71" y="11"/>
                    <a:pt x="71" y="12"/>
                  </a:cubicBezTo>
                  <a:cubicBezTo>
                    <a:pt x="71" y="13"/>
                    <a:pt x="72" y="13"/>
                    <a:pt x="72" y="14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1" y="36"/>
                    <a:pt x="66" y="39"/>
                    <a:pt x="63" y="42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5" y="28"/>
                    <a:pt x="42" y="27"/>
                    <a:pt x="41" y="29"/>
                  </a:cubicBezTo>
                  <a:cubicBezTo>
                    <a:pt x="40" y="30"/>
                    <a:pt x="39" y="31"/>
                    <a:pt x="39" y="32"/>
                  </a:cubicBezTo>
                  <a:cubicBezTo>
                    <a:pt x="39" y="33"/>
                    <a:pt x="39" y="34"/>
                    <a:pt x="40" y="3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6" y="56"/>
                    <a:pt x="43" y="60"/>
                    <a:pt x="40" y="64"/>
                  </a:cubicBezTo>
                  <a:cubicBezTo>
                    <a:pt x="21" y="57"/>
                    <a:pt x="21" y="57"/>
                    <a:pt x="21" y="57"/>
                  </a:cubicBezTo>
                  <a:cubicBezTo>
                    <a:pt x="19" y="56"/>
                    <a:pt x="16" y="56"/>
                    <a:pt x="15" y="58"/>
                  </a:cubicBezTo>
                  <a:cubicBezTo>
                    <a:pt x="15" y="59"/>
                    <a:pt x="14" y="60"/>
                    <a:pt x="14" y="60"/>
                  </a:cubicBezTo>
                  <a:cubicBezTo>
                    <a:pt x="14" y="62"/>
                    <a:pt x="15" y="63"/>
                    <a:pt x="16" y="64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29" y="82"/>
                    <a:pt x="27" y="87"/>
                    <a:pt x="25" y="92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3" y="91"/>
                    <a:pt x="0" y="92"/>
                    <a:pt x="0" y="94"/>
                  </a:cubicBezTo>
                  <a:cubicBezTo>
                    <a:pt x="0" y="94"/>
                    <a:pt x="0" y="95"/>
                    <a:pt x="0" y="95"/>
                  </a:cubicBezTo>
                  <a:lnTo>
                    <a:pt x="218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9" name="Freeform 18"/>
          <p:cNvSpPr>
            <a:spLocks noEditPoints="1"/>
          </p:cNvSpPr>
          <p:nvPr/>
        </p:nvSpPr>
        <p:spPr bwMode="black">
          <a:xfrm>
            <a:off x="4211664" y="2873417"/>
            <a:ext cx="1052324" cy="964746"/>
          </a:xfrm>
          <a:custGeom>
            <a:avLst/>
            <a:gdLst>
              <a:gd name="T0" fmla="*/ 1304 w 1423"/>
              <a:gd name="T1" fmla="*/ 301 h 1114"/>
              <a:gd name="T2" fmla="*/ 1302 w 1423"/>
              <a:gd name="T3" fmla="*/ 297 h 1114"/>
              <a:gd name="T4" fmla="*/ 719 w 1423"/>
              <a:gd name="T5" fmla="*/ 113 h 1114"/>
              <a:gd name="T6" fmla="*/ 496 w 1423"/>
              <a:gd name="T7" fmla="*/ 416 h 1114"/>
              <a:gd name="T8" fmla="*/ 441 w 1423"/>
              <a:gd name="T9" fmla="*/ 482 h 1114"/>
              <a:gd name="T10" fmla="*/ 375 w 1423"/>
              <a:gd name="T11" fmla="*/ 536 h 1114"/>
              <a:gd name="T12" fmla="*/ 290 w 1423"/>
              <a:gd name="T13" fmla="*/ 648 h 1114"/>
              <a:gd name="T14" fmla="*/ 470 w 1423"/>
              <a:gd name="T15" fmla="*/ 973 h 1114"/>
              <a:gd name="T16" fmla="*/ 610 w 1423"/>
              <a:gd name="T17" fmla="*/ 960 h 1114"/>
              <a:gd name="T18" fmla="*/ 775 w 1423"/>
              <a:gd name="T19" fmla="*/ 921 h 1114"/>
              <a:gd name="T20" fmla="*/ 932 w 1423"/>
              <a:gd name="T21" fmla="*/ 927 h 1114"/>
              <a:gd name="T22" fmla="*/ 1151 w 1423"/>
              <a:gd name="T23" fmla="*/ 893 h 1114"/>
              <a:gd name="T24" fmla="*/ 1304 w 1423"/>
              <a:gd name="T25" fmla="*/ 301 h 1114"/>
              <a:gd name="T26" fmla="*/ 1024 w 1423"/>
              <a:gd name="T27" fmla="*/ 311 h 1114"/>
              <a:gd name="T28" fmla="*/ 1024 w 1423"/>
              <a:gd name="T29" fmla="*/ 311 h 1114"/>
              <a:gd name="T30" fmla="*/ 873 w 1423"/>
              <a:gd name="T31" fmla="*/ 299 h 1114"/>
              <a:gd name="T32" fmla="*/ 873 w 1423"/>
              <a:gd name="T33" fmla="*/ 299 h 1114"/>
              <a:gd name="T34" fmla="*/ 799 w 1423"/>
              <a:gd name="T35" fmla="*/ 278 h 1114"/>
              <a:gd name="T36" fmla="*/ 821 w 1423"/>
              <a:gd name="T37" fmla="*/ 203 h 1114"/>
              <a:gd name="T38" fmla="*/ 828 w 1423"/>
              <a:gd name="T39" fmla="*/ 200 h 1114"/>
              <a:gd name="T40" fmla="*/ 1101 w 1423"/>
              <a:gd name="T41" fmla="*/ 234 h 1114"/>
              <a:gd name="T42" fmla="*/ 1108 w 1423"/>
              <a:gd name="T43" fmla="*/ 244 h 1114"/>
              <a:gd name="T44" fmla="*/ 1087 w 1423"/>
              <a:gd name="T45" fmla="*/ 318 h 1114"/>
              <a:gd name="T46" fmla="*/ 1024 w 1423"/>
              <a:gd name="T47" fmla="*/ 311 h 1114"/>
              <a:gd name="T48" fmla="*/ 14 w 1423"/>
              <a:gd name="T49" fmla="*/ 967 h 1114"/>
              <a:gd name="T50" fmla="*/ 53 w 1423"/>
              <a:gd name="T51" fmla="*/ 1037 h 1114"/>
              <a:gd name="T52" fmla="*/ 115 w 1423"/>
              <a:gd name="T53" fmla="*/ 1064 h 1114"/>
              <a:gd name="T54" fmla="*/ 24 w 1423"/>
              <a:gd name="T55" fmla="*/ 900 h 1114"/>
              <a:gd name="T56" fmla="*/ 14 w 1423"/>
              <a:gd name="T57" fmla="*/ 967 h 1114"/>
              <a:gd name="T58" fmla="*/ 400 w 1423"/>
              <a:gd name="T59" fmla="*/ 959 h 1114"/>
              <a:gd name="T60" fmla="*/ 265 w 1423"/>
              <a:gd name="T61" fmla="*/ 714 h 1114"/>
              <a:gd name="T62" fmla="*/ 190 w 1423"/>
              <a:gd name="T63" fmla="*/ 686 h 1114"/>
              <a:gd name="T64" fmla="*/ 175 w 1423"/>
              <a:gd name="T65" fmla="*/ 764 h 1114"/>
              <a:gd name="T66" fmla="*/ 310 w 1423"/>
              <a:gd name="T67" fmla="*/ 1008 h 1114"/>
              <a:gd name="T68" fmla="*/ 385 w 1423"/>
              <a:gd name="T69" fmla="*/ 1037 h 1114"/>
              <a:gd name="T70" fmla="*/ 400 w 1423"/>
              <a:gd name="T71" fmla="*/ 959 h 1114"/>
              <a:gd name="T72" fmla="*/ 266 w 1423"/>
              <a:gd name="T73" fmla="*/ 1026 h 1114"/>
              <a:gd name="T74" fmla="*/ 136 w 1423"/>
              <a:gd name="T75" fmla="*/ 792 h 1114"/>
              <a:gd name="T76" fmla="*/ 65 w 1423"/>
              <a:gd name="T77" fmla="*/ 764 h 1114"/>
              <a:gd name="T78" fmla="*/ 50 w 1423"/>
              <a:gd name="T79" fmla="*/ 840 h 1114"/>
              <a:gd name="T80" fmla="*/ 180 w 1423"/>
              <a:gd name="T81" fmla="*/ 1074 h 1114"/>
              <a:gd name="T82" fmla="*/ 251 w 1423"/>
              <a:gd name="T83" fmla="*/ 1101 h 1114"/>
              <a:gd name="T84" fmla="*/ 266 w 1423"/>
              <a:gd name="T85" fmla="*/ 1026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23" h="1114">
                <a:moveTo>
                  <a:pt x="1304" y="301"/>
                </a:moveTo>
                <a:cubicBezTo>
                  <a:pt x="1303" y="298"/>
                  <a:pt x="1304" y="300"/>
                  <a:pt x="1302" y="297"/>
                </a:cubicBezTo>
                <a:cubicBezTo>
                  <a:pt x="1184" y="83"/>
                  <a:pt x="922" y="0"/>
                  <a:pt x="719" y="113"/>
                </a:cubicBezTo>
                <a:cubicBezTo>
                  <a:pt x="602" y="177"/>
                  <a:pt x="570" y="311"/>
                  <a:pt x="496" y="416"/>
                </a:cubicBezTo>
                <a:cubicBezTo>
                  <a:pt x="476" y="444"/>
                  <a:pt x="458" y="465"/>
                  <a:pt x="441" y="482"/>
                </a:cubicBezTo>
                <a:cubicBezTo>
                  <a:pt x="418" y="504"/>
                  <a:pt x="397" y="520"/>
                  <a:pt x="375" y="536"/>
                </a:cubicBezTo>
                <a:cubicBezTo>
                  <a:pt x="334" y="566"/>
                  <a:pt x="296" y="593"/>
                  <a:pt x="290" y="648"/>
                </a:cubicBezTo>
                <a:cubicBezTo>
                  <a:pt x="470" y="973"/>
                  <a:pt x="470" y="973"/>
                  <a:pt x="470" y="973"/>
                </a:cubicBezTo>
                <a:cubicBezTo>
                  <a:pt x="519" y="997"/>
                  <a:pt x="563" y="978"/>
                  <a:pt x="610" y="960"/>
                </a:cubicBezTo>
                <a:cubicBezTo>
                  <a:pt x="654" y="943"/>
                  <a:pt x="697" y="925"/>
                  <a:pt x="775" y="921"/>
                </a:cubicBezTo>
                <a:cubicBezTo>
                  <a:pt x="827" y="918"/>
                  <a:pt x="880" y="924"/>
                  <a:pt x="932" y="927"/>
                </a:cubicBezTo>
                <a:cubicBezTo>
                  <a:pt x="1008" y="932"/>
                  <a:pt x="1082" y="931"/>
                  <a:pt x="1151" y="893"/>
                </a:cubicBezTo>
                <a:cubicBezTo>
                  <a:pt x="1354" y="780"/>
                  <a:pt x="1423" y="515"/>
                  <a:pt x="1304" y="301"/>
                </a:cubicBezTo>
                <a:close/>
                <a:moveTo>
                  <a:pt x="1024" y="311"/>
                </a:moveTo>
                <a:cubicBezTo>
                  <a:pt x="1024" y="311"/>
                  <a:pt x="1024" y="311"/>
                  <a:pt x="1024" y="311"/>
                </a:cubicBezTo>
                <a:cubicBezTo>
                  <a:pt x="983" y="270"/>
                  <a:pt x="917" y="279"/>
                  <a:pt x="873" y="299"/>
                </a:cubicBezTo>
                <a:cubicBezTo>
                  <a:pt x="873" y="299"/>
                  <a:pt x="873" y="299"/>
                  <a:pt x="873" y="299"/>
                </a:cubicBezTo>
                <a:cubicBezTo>
                  <a:pt x="847" y="313"/>
                  <a:pt x="814" y="304"/>
                  <a:pt x="799" y="278"/>
                </a:cubicBezTo>
                <a:cubicBezTo>
                  <a:pt x="785" y="251"/>
                  <a:pt x="794" y="218"/>
                  <a:pt x="821" y="203"/>
                </a:cubicBezTo>
                <a:cubicBezTo>
                  <a:pt x="823" y="202"/>
                  <a:pt x="828" y="200"/>
                  <a:pt x="828" y="200"/>
                </a:cubicBezTo>
                <a:cubicBezTo>
                  <a:pt x="927" y="155"/>
                  <a:pt x="1035" y="168"/>
                  <a:pt x="1101" y="234"/>
                </a:cubicBezTo>
                <a:cubicBezTo>
                  <a:pt x="1101" y="234"/>
                  <a:pt x="1106" y="240"/>
                  <a:pt x="1108" y="244"/>
                </a:cubicBezTo>
                <a:cubicBezTo>
                  <a:pt x="1122" y="270"/>
                  <a:pt x="1113" y="303"/>
                  <a:pt x="1087" y="318"/>
                </a:cubicBezTo>
                <a:cubicBezTo>
                  <a:pt x="1066" y="329"/>
                  <a:pt x="1041" y="326"/>
                  <a:pt x="1024" y="311"/>
                </a:cubicBezTo>
                <a:close/>
                <a:moveTo>
                  <a:pt x="14" y="967"/>
                </a:moveTo>
                <a:cubicBezTo>
                  <a:pt x="53" y="1037"/>
                  <a:pt x="53" y="1037"/>
                  <a:pt x="53" y="1037"/>
                </a:cubicBezTo>
                <a:cubicBezTo>
                  <a:pt x="67" y="1062"/>
                  <a:pt x="94" y="1074"/>
                  <a:pt x="115" y="1064"/>
                </a:cubicBezTo>
                <a:cubicBezTo>
                  <a:pt x="24" y="900"/>
                  <a:pt x="24" y="900"/>
                  <a:pt x="24" y="900"/>
                </a:cubicBezTo>
                <a:cubicBezTo>
                  <a:pt x="5" y="912"/>
                  <a:pt x="0" y="941"/>
                  <a:pt x="14" y="967"/>
                </a:cubicBezTo>
                <a:close/>
                <a:moveTo>
                  <a:pt x="400" y="959"/>
                </a:moveTo>
                <a:cubicBezTo>
                  <a:pt x="265" y="714"/>
                  <a:pt x="265" y="714"/>
                  <a:pt x="265" y="714"/>
                </a:cubicBezTo>
                <a:cubicBezTo>
                  <a:pt x="248" y="685"/>
                  <a:pt x="215" y="672"/>
                  <a:pt x="190" y="686"/>
                </a:cubicBezTo>
                <a:cubicBezTo>
                  <a:pt x="166" y="699"/>
                  <a:pt x="159" y="734"/>
                  <a:pt x="175" y="764"/>
                </a:cubicBezTo>
                <a:cubicBezTo>
                  <a:pt x="310" y="1008"/>
                  <a:pt x="310" y="1008"/>
                  <a:pt x="310" y="1008"/>
                </a:cubicBezTo>
                <a:cubicBezTo>
                  <a:pt x="327" y="1038"/>
                  <a:pt x="360" y="1051"/>
                  <a:pt x="385" y="1037"/>
                </a:cubicBezTo>
                <a:cubicBezTo>
                  <a:pt x="410" y="1023"/>
                  <a:pt x="416" y="988"/>
                  <a:pt x="400" y="959"/>
                </a:cubicBezTo>
                <a:close/>
                <a:moveTo>
                  <a:pt x="266" y="1026"/>
                </a:moveTo>
                <a:cubicBezTo>
                  <a:pt x="136" y="792"/>
                  <a:pt x="136" y="792"/>
                  <a:pt x="136" y="792"/>
                </a:cubicBezTo>
                <a:cubicBezTo>
                  <a:pt x="121" y="764"/>
                  <a:pt x="89" y="751"/>
                  <a:pt x="65" y="764"/>
                </a:cubicBezTo>
                <a:cubicBezTo>
                  <a:pt x="41" y="778"/>
                  <a:pt x="35" y="811"/>
                  <a:pt x="50" y="840"/>
                </a:cubicBezTo>
                <a:cubicBezTo>
                  <a:pt x="180" y="1074"/>
                  <a:pt x="180" y="1074"/>
                  <a:pt x="180" y="1074"/>
                </a:cubicBezTo>
                <a:cubicBezTo>
                  <a:pt x="196" y="1102"/>
                  <a:pt x="228" y="1114"/>
                  <a:pt x="251" y="1101"/>
                </a:cubicBezTo>
                <a:cubicBezTo>
                  <a:pt x="275" y="1088"/>
                  <a:pt x="282" y="1055"/>
                  <a:pt x="266" y="10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6" tIns="34294" rIns="68586" bIns="34294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31" name="Freeform 22"/>
          <p:cNvSpPr>
            <a:spLocks noEditPoints="1"/>
          </p:cNvSpPr>
          <p:nvPr/>
        </p:nvSpPr>
        <p:spPr bwMode="black">
          <a:xfrm>
            <a:off x="1382932" y="2797910"/>
            <a:ext cx="1075326" cy="1149184"/>
          </a:xfrm>
          <a:custGeom>
            <a:avLst/>
            <a:gdLst>
              <a:gd name="T0" fmla="*/ 300 w 300"/>
              <a:gd name="T1" fmla="*/ 141 h 300"/>
              <a:gd name="T2" fmla="*/ 285 w 300"/>
              <a:gd name="T3" fmla="*/ 141 h 300"/>
              <a:gd name="T4" fmla="*/ 159 w 300"/>
              <a:gd name="T5" fmla="*/ 15 h 300"/>
              <a:gd name="T6" fmla="*/ 159 w 300"/>
              <a:gd name="T7" fmla="*/ 0 h 300"/>
              <a:gd name="T8" fmla="*/ 141 w 300"/>
              <a:gd name="T9" fmla="*/ 0 h 300"/>
              <a:gd name="T10" fmla="*/ 141 w 300"/>
              <a:gd name="T11" fmla="*/ 15 h 300"/>
              <a:gd name="T12" fmla="*/ 15 w 300"/>
              <a:gd name="T13" fmla="*/ 141 h 300"/>
              <a:gd name="T14" fmla="*/ 0 w 300"/>
              <a:gd name="T15" fmla="*/ 141 h 300"/>
              <a:gd name="T16" fmla="*/ 0 w 300"/>
              <a:gd name="T17" fmla="*/ 159 h 300"/>
              <a:gd name="T18" fmla="*/ 15 w 300"/>
              <a:gd name="T19" fmla="*/ 159 h 300"/>
              <a:gd name="T20" fmla="*/ 141 w 300"/>
              <a:gd name="T21" fmla="*/ 285 h 300"/>
              <a:gd name="T22" fmla="*/ 141 w 300"/>
              <a:gd name="T23" fmla="*/ 300 h 300"/>
              <a:gd name="T24" fmla="*/ 159 w 300"/>
              <a:gd name="T25" fmla="*/ 300 h 300"/>
              <a:gd name="T26" fmla="*/ 159 w 300"/>
              <a:gd name="T27" fmla="*/ 285 h 300"/>
              <a:gd name="T28" fmla="*/ 285 w 300"/>
              <a:gd name="T29" fmla="*/ 159 h 300"/>
              <a:gd name="T30" fmla="*/ 300 w 300"/>
              <a:gd name="T31" fmla="*/ 159 h 300"/>
              <a:gd name="T32" fmla="*/ 300 w 300"/>
              <a:gd name="T33" fmla="*/ 141 h 300"/>
              <a:gd name="T34" fmla="*/ 258 w 300"/>
              <a:gd name="T35" fmla="*/ 141 h 300"/>
              <a:gd name="T36" fmla="*/ 230 w 300"/>
              <a:gd name="T37" fmla="*/ 141 h 300"/>
              <a:gd name="T38" fmla="*/ 159 w 300"/>
              <a:gd name="T39" fmla="*/ 70 h 300"/>
              <a:gd name="T40" fmla="*/ 159 w 300"/>
              <a:gd name="T41" fmla="*/ 42 h 300"/>
              <a:gd name="T42" fmla="*/ 258 w 300"/>
              <a:gd name="T43" fmla="*/ 141 h 300"/>
              <a:gd name="T44" fmla="*/ 141 w 300"/>
              <a:gd name="T45" fmla="*/ 125 h 300"/>
              <a:gd name="T46" fmla="*/ 125 w 300"/>
              <a:gd name="T47" fmla="*/ 141 h 300"/>
              <a:gd name="T48" fmla="*/ 97 w 300"/>
              <a:gd name="T49" fmla="*/ 141 h 300"/>
              <a:gd name="T50" fmla="*/ 141 w 300"/>
              <a:gd name="T51" fmla="*/ 97 h 300"/>
              <a:gd name="T52" fmla="*/ 141 w 300"/>
              <a:gd name="T53" fmla="*/ 125 h 300"/>
              <a:gd name="T54" fmla="*/ 125 w 300"/>
              <a:gd name="T55" fmla="*/ 159 h 300"/>
              <a:gd name="T56" fmla="*/ 141 w 300"/>
              <a:gd name="T57" fmla="*/ 175 h 300"/>
              <a:gd name="T58" fmla="*/ 141 w 300"/>
              <a:gd name="T59" fmla="*/ 203 h 300"/>
              <a:gd name="T60" fmla="*/ 97 w 300"/>
              <a:gd name="T61" fmla="*/ 159 h 300"/>
              <a:gd name="T62" fmla="*/ 125 w 300"/>
              <a:gd name="T63" fmla="*/ 159 h 300"/>
              <a:gd name="T64" fmla="*/ 159 w 300"/>
              <a:gd name="T65" fmla="*/ 175 h 300"/>
              <a:gd name="T66" fmla="*/ 175 w 300"/>
              <a:gd name="T67" fmla="*/ 159 h 300"/>
              <a:gd name="T68" fmla="*/ 203 w 300"/>
              <a:gd name="T69" fmla="*/ 159 h 300"/>
              <a:gd name="T70" fmla="*/ 159 w 300"/>
              <a:gd name="T71" fmla="*/ 203 h 300"/>
              <a:gd name="T72" fmla="*/ 159 w 300"/>
              <a:gd name="T73" fmla="*/ 175 h 300"/>
              <a:gd name="T74" fmla="*/ 175 w 300"/>
              <a:gd name="T75" fmla="*/ 141 h 300"/>
              <a:gd name="T76" fmla="*/ 159 w 300"/>
              <a:gd name="T77" fmla="*/ 125 h 300"/>
              <a:gd name="T78" fmla="*/ 159 w 300"/>
              <a:gd name="T79" fmla="*/ 97 h 300"/>
              <a:gd name="T80" fmla="*/ 203 w 300"/>
              <a:gd name="T81" fmla="*/ 141 h 300"/>
              <a:gd name="T82" fmla="*/ 175 w 300"/>
              <a:gd name="T83" fmla="*/ 141 h 300"/>
              <a:gd name="T84" fmla="*/ 141 w 300"/>
              <a:gd name="T85" fmla="*/ 42 h 300"/>
              <a:gd name="T86" fmla="*/ 141 w 300"/>
              <a:gd name="T87" fmla="*/ 70 h 300"/>
              <a:gd name="T88" fmla="*/ 70 w 300"/>
              <a:gd name="T89" fmla="*/ 141 h 300"/>
              <a:gd name="T90" fmla="*/ 42 w 300"/>
              <a:gd name="T91" fmla="*/ 141 h 300"/>
              <a:gd name="T92" fmla="*/ 141 w 300"/>
              <a:gd name="T93" fmla="*/ 42 h 300"/>
              <a:gd name="T94" fmla="*/ 42 w 300"/>
              <a:gd name="T95" fmla="*/ 159 h 300"/>
              <a:gd name="T96" fmla="*/ 70 w 300"/>
              <a:gd name="T97" fmla="*/ 159 h 300"/>
              <a:gd name="T98" fmla="*/ 141 w 300"/>
              <a:gd name="T99" fmla="*/ 230 h 300"/>
              <a:gd name="T100" fmla="*/ 141 w 300"/>
              <a:gd name="T101" fmla="*/ 258 h 300"/>
              <a:gd name="T102" fmla="*/ 42 w 300"/>
              <a:gd name="T103" fmla="*/ 159 h 300"/>
              <a:gd name="T104" fmla="*/ 159 w 300"/>
              <a:gd name="T105" fmla="*/ 258 h 300"/>
              <a:gd name="T106" fmla="*/ 159 w 300"/>
              <a:gd name="T107" fmla="*/ 230 h 300"/>
              <a:gd name="T108" fmla="*/ 230 w 300"/>
              <a:gd name="T109" fmla="*/ 159 h 300"/>
              <a:gd name="T110" fmla="*/ 258 w 300"/>
              <a:gd name="T111" fmla="*/ 159 h 300"/>
              <a:gd name="T112" fmla="*/ 159 w 300"/>
              <a:gd name="T113" fmla="*/ 258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0" h="300">
                <a:moveTo>
                  <a:pt x="300" y="141"/>
                </a:moveTo>
                <a:cubicBezTo>
                  <a:pt x="285" y="141"/>
                  <a:pt x="285" y="141"/>
                  <a:pt x="285" y="141"/>
                </a:cubicBezTo>
                <a:cubicBezTo>
                  <a:pt x="280" y="74"/>
                  <a:pt x="226" y="20"/>
                  <a:pt x="159" y="15"/>
                </a:cubicBezTo>
                <a:cubicBezTo>
                  <a:pt x="159" y="0"/>
                  <a:pt x="159" y="0"/>
                  <a:pt x="159" y="0"/>
                </a:cubicBezTo>
                <a:cubicBezTo>
                  <a:pt x="141" y="0"/>
                  <a:pt x="141" y="0"/>
                  <a:pt x="141" y="0"/>
                </a:cubicBezTo>
                <a:cubicBezTo>
                  <a:pt x="141" y="15"/>
                  <a:pt x="141" y="15"/>
                  <a:pt x="141" y="15"/>
                </a:cubicBezTo>
                <a:cubicBezTo>
                  <a:pt x="74" y="20"/>
                  <a:pt x="20" y="74"/>
                  <a:pt x="15" y="141"/>
                </a:cubicBezTo>
                <a:cubicBezTo>
                  <a:pt x="0" y="141"/>
                  <a:pt x="0" y="141"/>
                  <a:pt x="0" y="141"/>
                </a:cubicBezTo>
                <a:cubicBezTo>
                  <a:pt x="0" y="159"/>
                  <a:pt x="0" y="159"/>
                  <a:pt x="0" y="159"/>
                </a:cubicBezTo>
                <a:cubicBezTo>
                  <a:pt x="15" y="159"/>
                  <a:pt x="15" y="159"/>
                  <a:pt x="15" y="159"/>
                </a:cubicBezTo>
                <a:cubicBezTo>
                  <a:pt x="20" y="226"/>
                  <a:pt x="74" y="280"/>
                  <a:pt x="141" y="285"/>
                </a:cubicBezTo>
                <a:cubicBezTo>
                  <a:pt x="141" y="300"/>
                  <a:pt x="141" y="300"/>
                  <a:pt x="141" y="300"/>
                </a:cubicBezTo>
                <a:cubicBezTo>
                  <a:pt x="159" y="300"/>
                  <a:pt x="159" y="300"/>
                  <a:pt x="159" y="300"/>
                </a:cubicBezTo>
                <a:cubicBezTo>
                  <a:pt x="159" y="285"/>
                  <a:pt x="159" y="285"/>
                  <a:pt x="159" y="285"/>
                </a:cubicBezTo>
                <a:cubicBezTo>
                  <a:pt x="226" y="280"/>
                  <a:pt x="280" y="226"/>
                  <a:pt x="285" y="159"/>
                </a:cubicBezTo>
                <a:cubicBezTo>
                  <a:pt x="300" y="159"/>
                  <a:pt x="300" y="159"/>
                  <a:pt x="300" y="159"/>
                </a:cubicBezTo>
                <a:lnTo>
                  <a:pt x="300" y="141"/>
                </a:lnTo>
                <a:close/>
                <a:moveTo>
                  <a:pt x="258" y="141"/>
                </a:moveTo>
                <a:cubicBezTo>
                  <a:pt x="230" y="141"/>
                  <a:pt x="230" y="141"/>
                  <a:pt x="230" y="141"/>
                </a:cubicBezTo>
                <a:cubicBezTo>
                  <a:pt x="226" y="103"/>
                  <a:pt x="197" y="74"/>
                  <a:pt x="159" y="70"/>
                </a:cubicBezTo>
                <a:cubicBezTo>
                  <a:pt x="159" y="42"/>
                  <a:pt x="159" y="42"/>
                  <a:pt x="159" y="42"/>
                </a:cubicBezTo>
                <a:cubicBezTo>
                  <a:pt x="211" y="47"/>
                  <a:pt x="253" y="89"/>
                  <a:pt x="258" y="141"/>
                </a:cubicBezTo>
                <a:close/>
                <a:moveTo>
                  <a:pt x="141" y="125"/>
                </a:moveTo>
                <a:cubicBezTo>
                  <a:pt x="133" y="127"/>
                  <a:pt x="127" y="133"/>
                  <a:pt x="125" y="141"/>
                </a:cubicBezTo>
                <a:cubicBezTo>
                  <a:pt x="97" y="141"/>
                  <a:pt x="97" y="141"/>
                  <a:pt x="97" y="141"/>
                </a:cubicBezTo>
                <a:cubicBezTo>
                  <a:pt x="101" y="118"/>
                  <a:pt x="118" y="101"/>
                  <a:pt x="141" y="97"/>
                </a:cubicBezTo>
                <a:lnTo>
                  <a:pt x="141" y="125"/>
                </a:lnTo>
                <a:close/>
                <a:moveTo>
                  <a:pt x="125" y="159"/>
                </a:moveTo>
                <a:cubicBezTo>
                  <a:pt x="127" y="167"/>
                  <a:pt x="133" y="173"/>
                  <a:pt x="141" y="175"/>
                </a:cubicBezTo>
                <a:cubicBezTo>
                  <a:pt x="141" y="203"/>
                  <a:pt x="141" y="203"/>
                  <a:pt x="141" y="203"/>
                </a:cubicBezTo>
                <a:cubicBezTo>
                  <a:pt x="118" y="199"/>
                  <a:pt x="101" y="182"/>
                  <a:pt x="97" y="159"/>
                </a:cubicBezTo>
                <a:lnTo>
                  <a:pt x="125" y="159"/>
                </a:lnTo>
                <a:close/>
                <a:moveTo>
                  <a:pt x="159" y="175"/>
                </a:moveTo>
                <a:cubicBezTo>
                  <a:pt x="167" y="173"/>
                  <a:pt x="173" y="167"/>
                  <a:pt x="175" y="159"/>
                </a:cubicBezTo>
                <a:cubicBezTo>
                  <a:pt x="203" y="159"/>
                  <a:pt x="203" y="159"/>
                  <a:pt x="203" y="159"/>
                </a:cubicBezTo>
                <a:cubicBezTo>
                  <a:pt x="199" y="182"/>
                  <a:pt x="182" y="199"/>
                  <a:pt x="159" y="203"/>
                </a:cubicBezTo>
                <a:lnTo>
                  <a:pt x="159" y="175"/>
                </a:lnTo>
                <a:close/>
                <a:moveTo>
                  <a:pt x="175" y="141"/>
                </a:moveTo>
                <a:cubicBezTo>
                  <a:pt x="173" y="133"/>
                  <a:pt x="167" y="127"/>
                  <a:pt x="159" y="125"/>
                </a:cubicBezTo>
                <a:cubicBezTo>
                  <a:pt x="159" y="97"/>
                  <a:pt x="159" y="97"/>
                  <a:pt x="159" y="97"/>
                </a:cubicBezTo>
                <a:cubicBezTo>
                  <a:pt x="182" y="101"/>
                  <a:pt x="199" y="118"/>
                  <a:pt x="203" y="141"/>
                </a:cubicBezTo>
                <a:lnTo>
                  <a:pt x="175" y="141"/>
                </a:lnTo>
                <a:close/>
                <a:moveTo>
                  <a:pt x="141" y="42"/>
                </a:moveTo>
                <a:cubicBezTo>
                  <a:pt x="141" y="70"/>
                  <a:pt x="141" y="70"/>
                  <a:pt x="141" y="70"/>
                </a:cubicBezTo>
                <a:cubicBezTo>
                  <a:pt x="103" y="74"/>
                  <a:pt x="74" y="103"/>
                  <a:pt x="70" y="141"/>
                </a:cubicBezTo>
                <a:cubicBezTo>
                  <a:pt x="42" y="141"/>
                  <a:pt x="42" y="141"/>
                  <a:pt x="42" y="141"/>
                </a:cubicBezTo>
                <a:cubicBezTo>
                  <a:pt x="47" y="89"/>
                  <a:pt x="89" y="47"/>
                  <a:pt x="141" y="42"/>
                </a:cubicBezTo>
                <a:close/>
                <a:moveTo>
                  <a:pt x="42" y="159"/>
                </a:moveTo>
                <a:cubicBezTo>
                  <a:pt x="70" y="159"/>
                  <a:pt x="70" y="159"/>
                  <a:pt x="70" y="159"/>
                </a:cubicBezTo>
                <a:cubicBezTo>
                  <a:pt x="74" y="197"/>
                  <a:pt x="103" y="226"/>
                  <a:pt x="141" y="230"/>
                </a:cubicBezTo>
                <a:cubicBezTo>
                  <a:pt x="141" y="258"/>
                  <a:pt x="141" y="258"/>
                  <a:pt x="141" y="258"/>
                </a:cubicBezTo>
                <a:cubicBezTo>
                  <a:pt x="89" y="253"/>
                  <a:pt x="47" y="211"/>
                  <a:pt x="42" y="159"/>
                </a:cubicBezTo>
                <a:close/>
                <a:moveTo>
                  <a:pt x="159" y="258"/>
                </a:moveTo>
                <a:cubicBezTo>
                  <a:pt x="159" y="230"/>
                  <a:pt x="159" y="230"/>
                  <a:pt x="159" y="230"/>
                </a:cubicBezTo>
                <a:cubicBezTo>
                  <a:pt x="197" y="226"/>
                  <a:pt x="226" y="197"/>
                  <a:pt x="230" y="159"/>
                </a:cubicBezTo>
                <a:cubicBezTo>
                  <a:pt x="258" y="159"/>
                  <a:pt x="258" y="159"/>
                  <a:pt x="258" y="159"/>
                </a:cubicBezTo>
                <a:cubicBezTo>
                  <a:pt x="253" y="211"/>
                  <a:pt x="211" y="253"/>
                  <a:pt x="159" y="25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pic>
        <p:nvPicPr>
          <p:cNvPr id="32" name="Picture 34" descr="Efficiency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33643" y="2598961"/>
            <a:ext cx="1628666" cy="1479745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文本框 32"/>
          <p:cNvSpPr txBox="1"/>
          <p:nvPr/>
        </p:nvSpPr>
        <p:spPr>
          <a:xfrm>
            <a:off x="482249" y="3764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57622686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圆角矩形 21"/>
          <p:cNvSpPr/>
          <p:nvPr/>
        </p:nvSpPr>
        <p:spPr>
          <a:xfrm>
            <a:off x="2798295" y="1872555"/>
            <a:ext cx="2542903" cy="2542903"/>
          </a:xfrm>
          <a:prstGeom prst="roundRect">
            <a:avLst>
              <a:gd name="adj" fmla="val 7763"/>
            </a:avLst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任意多边形 23"/>
          <p:cNvSpPr/>
          <p:nvPr/>
        </p:nvSpPr>
        <p:spPr>
          <a:xfrm>
            <a:off x="3157348" y="2741441"/>
            <a:ext cx="2182140" cy="1674017"/>
          </a:xfrm>
          <a:custGeom>
            <a:avLst/>
            <a:gdLst>
              <a:gd name="connsiteX0" fmla="*/ 1794146 w 2182140"/>
              <a:gd name="connsiteY0" fmla="*/ 0 h 1674017"/>
              <a:gd name="connsiteX1" fmla="*/ 2182140 w 2182140"/>
              <a:gd name="connsiteY1" fmla="*/ 556824 h 1674017"/>
              <a:gd name="connsiteX2" fmla="*/ 2182140 w 2182140"/>
              <a:gd name="connsiteY2" fmla="*/ 1476611 h 1674017"/>
              <a:gd name="connsiteX3" fmla="*/ 1984734 w 2182140"/>
              <a:gd name="connsiteY3" fmla="*/ 1674017 h 1674017"/>
              <a:gd name="connsiteX4" fmla="*/ 690750 w 2182140"/>
              <a:gd name="connsiteY4" fmla="*/ 1674017 h 1674017"/>
              <a:gd name="connsiteX5" fmla="*/ 0 w 2182140"/>
              <a:gd name="connsiteY5" fmla="*/ 682697 h 1674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82140" h="1674017">
                <a:moveTo>
                  <a:pt x="1794146" y="0"/>
                </a:moveTo>
                <a:lnTo>
                  <a:pt x="2182140" y="556824"/>
                </a:lnTo>
                <a:lnTo>
                  <a:pt x="2182140" y="1476611"/>
                </a:lnTo>
                <a:cubicBezTo>
                  <a:pt x="2182140" y="1585635"/>
                  <a:pt x="2093758" y="1674017"/>
                  <a:pt x="1984734" y="1674017"/>
                </a:cubicBezTo>
                <a:lnTo>
                  <a:pt x="690750" y="1674017"/>
                </a:lnTo>
                <a:lnTo>
                  <a:pt x="0" y="682697"/>
                </a:lnTo>
                <a:close/>
              </a:path>
            </a:pathLst>
          </a:custGeom>
          <a:solidFill>
            <a:srgbClr val="3B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6009404" y="1587117"/>
            <a:ext cx="140806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800" dirty="0" smtClean="0">
                <a:solidFill>
                  <a:srgbClr val="DDA44F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rPr>
              <a:t>P</a:t>
            </a:r>
            <a:endParaRPr lang="zh-CN" altLang="en-US" sz="13800" dirty="0">
              <a:solidFill>
                <a:srgbClr val="DDA44F"/>
              </a:solidFill>
              <a:latin typeface="方正大黑简体" panose="03000509000000000000" pitchFamily="65" charset="-122"/>
              <a:ea typeface="方正大黑简体" panose="03000509000000000000" pitchFamily="65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866085" y="2462566"/>
            <a:ext cx="15434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1500">
                <a:solidFill>
                  <a:srgbClr val="E36A6C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defRPr>
            </a:lvl1pPr>
          </a:lstStyle>
          <a:p>
            <a:r>
              <a:rPr lang="en-US" altLang="zh-CN" sz="6000" dirty="0">
                <a:solidFill>
                  <a:srgbClr val="DDA44F"/>
                </a:solidFill>
              </a:rPr>
              <a:t>art</a:t>
            </a:r>
            <a:endParaRPr lang="zh-CN" altLang="en-US" sz="6000" dirty="0">
              <a:solidFill>
                <a:srgbClr val="DDA44F"/>
              </a:solidFill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8005615" y="1764088"/>
            <a:ext cx="403906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500" b="1" dirty="0" smtClean="0">
                <a:solidFill>
                  <a:srgbClr val="519CD6"/>
                </a:solidFill>
                <a:latin typeface="Helvetica LT Std" panose="020B0504020202020204" pitchFamily="34" charset="0"/>
                <a:ea typeface="Hiragino Sans GB W3" panose="020B0300000000000000" pitchFamily="34" charset="-122"/>
              </a:rPr>
              <a:t>3</a:t>
            </a:r>
            <a:endParaRPr lang="zh-CN" altLang="en-US" sz="11500" b="1" dirty="0">
              <a:solidFill>
                <a:srgbClr val="519CD6"/>
              </a:solidFill>
              <a:latin typeface="Helvetica LT Std" panose="020B0504020202020204" pitchFamily="34" charset="0"/>
              <a:ea typeface="Hiragino Sans GB W3" panose="020B0300000000000000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6040643" y="3582723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6016790" y="3484486"/>
            <a:ext cx="298087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>
            <a:off x="6016790" y="4278980"/>
            <a:ext cx="298087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 7"/>
          <p:cNvSpPr>
            <a:spLocks/>
          </p:cNvSpPr>
          <p:nvPr/>
        </p:nvSpPr>
        <p:spPr bwMode="auto">
          <a:xfrm>
            <a:off x="3045122" y="2493394"/>
            <a:ext cx="2042012" cy="1089329"/>
          </a:xfrm>
          <a:custGeom>
            <a:avLst/>
            <a:gdLst>
              <a:gd name="T0" fmla="*/ 157 w 214"/>
              <a:gd name="T1" fmla="*/ 0 h 114"/>
              <a:gd name="T2" fmla="*/ 107 w 214"/>
              <a:gd name="T3" fmla="*/ 29 h 114"/>
              <a:gd name="T4" fmla="*/ 86 w 214"/>
              <a:gd name="T5" fmla="*/ 23 h 114"/>
              <a:gd name="T6" fmla="*/ 46 w 214"/>
              <a:gd name="T7" fmla="*/ 48 h 114"/>
              <a:gd name="T8" fmla="*/ 34 w 214"/>
              <a:gd name="T9" fmla="*/ 45 h 114"/>
              <a:gd name="T10" fmla="*/ 0 w 214"/>
              <a:gd name="T11" fmla="*/ 80 h 114"/>
              <a:gd name="T12" fmla="*/ 34 w 214"/>
              <a:gd name="T13" fmla="*/ 114 h 114"/>
              <a:gd name="T14" fmla="*/ 86 w 214"/>
              <a:gd name="T15" fmla="*/ 114 h 114"/>
              <a:gd name="T16" fmla="*/ 157 w 214"/>
              <a:gd name="T17" fmla="*/ 114 h 114"/>
              <a:gd name="T18" fmla="*/ 214 w 214"/>
              <a:gd name="T19" fmla="*/ 57 h 114"/>
              <a:gd name="T20" fmla="*/ 157 w 214"/>
              <a:gd name="T21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14" h="114">
                <a:moveTo>
                  <a:pt x="157" y="0"/>
                </a:moveTo>
                <a:cubicBezTo>
                  <a:pt x="136" y="0"/>
                  <a:pt x="117" y="11"/>
                  <a:pt x="107" y="29"/>
                </a:cubicBezTo>
                <a:cubicBezTo>
                  <a:pt x="101" y="25"/>
                  <a:pt x="94" y="23"/>
                  <a:pt x="86" y="23"/>
                </a:cubicBezTo>
                <a:cubicBezTo>
                  <a:pt x="69" y="23"/>
                  <a:pt x="54" y="33"/>
                  <a:pt x="46" y="48"/>
                </a:cubicBezTo>
                <a:cubicBezTo>
                  <a:pt x="42" y="46"/>
                  <a:pt x="38" y="45"/>
                  <a:pt x="34" y="45"/>
                </a:cubicBezTo>
                <a:cubicBezTo>
                  <a:pt x="15" y="45"/>
                  <a:pt x="0" y="61"/>
                  <a:pt x="0" y="80"/>
                </a:cubicBezTo>
                <a:cubicBezTo>
                  <a:pt x="0" y="99"/>
                  <a:pt x="15" y="114"/>
                  <a:pt x="34" y="114"/>
                </a:cubicBezTo>
                <a:cubicBezTo>
                  <a:pt x="86" y="114"/>
                  <a:pt x="86" y="114"/>
                  <a:pt x="86" y="114"/>
                </a:cubicBezTo>
                <a:cubicBezTo>
                  <a:pt x="157" y="114"/>
                  <a:pt x="157" y="114"/>
                  <a:pt x="157" y="114"/>
                </a:cubicBezTo>
                <a:cubicBezTo>
                  <a:pt x="189" y="114"/>
                  <a:pt x="214" y="89"/>
                  <a:pt x="214" y="57"/>
                </a:cubicBezTo>
                <a:cubicBezTo>
                  <a:pt x="214" y="25"/>
                  <a:pt x="189" y="0"/>
                  <a:pt x="157" y="0"/>
                </a:cubicBezTo>
                <a:close/>
              </a:path>
            </a:pathLst>
          </a:custGeom>
          <a:solidFill>
            <a:srgbClr val="FFFEC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n w="18415" cmpd="sng">
                <a:solidFill>
                  <a:srgbClr val="FFFFFF"/>
                </a:solidFill>
                <a:prstDash val="solid"/>
              </a:ln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482249" y="3764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77904916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1247775" y="1973816"/>
            <a:ext cx="3152775" cy="581025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4543425" y="1973816"/>
            <a:ext cx="3152775" cy="581025"/>
          </a:xfrm>
          <a:prstGeom prst="rect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7839073" y="1973817"/>
            <a:ext cx="3152775" cy="581025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Picture 10" descr="C:\Users\Jonahs\Dropbox\Projects SCOTT\MEET Windows Azure\source\Background\tile-icon-networ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1022" y="1968529"/>
            <a:ext cx="586464" cy="58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" descr="C:\Users\Jonahs\Dropbox\Projects SCOTT\MEET Windows Azure\source\Background\tile-icon-CD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5372" y="1928257"/>
            <a:ext cx="638782" cy="638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7" descr="C:\Users\jonahs\Documents\Dropbox\Projects SCOTT\MEET Windows Azure\source\Background\Service-Icon-VM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370" y="2015953"/>
            <a:ext cx="496879" cy="49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文本框 15"/>
          <p:cNvSpPr txBox="1"/>
          <p:nvPr/>
        </p:nvSpPr>
        <p:spPr>
          <a:xfrm>
            <a:off x="2261938" y="2064273"/>
            <a:ext cx="12272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5652560" y="2064273"/>
            <a:ext cx="12272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9043183" y="2064273"/>
            <a:ext cx="12272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15" r="6115"/>
          <a:stretch/>
        </p:blipFill>
        <p:spPr>
          <a:xfrm>
            <a:off x="7839073" y="2697716"/>
            <a:ext cx="3171825" cy="2421249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17" t="4015" r="4555" b="1"/>
          <a:stretch/>
        </p:blipFill>
        <p:spPr>
          <a:xfrm>
            <a:off x="1247775" y="2697716"/>
            <a:ext cx="3143250" cy="2409217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4" r="9023"/>
          <a:stretch/>
        </p:blipFill>
        <p:spPr>
          <a:xfrm>
            <a:off x="4533898" y="2697716"/>
            <a:ext cx="3162301" cy="2421249"/>
          </a:xfrm>
          <a:prstGeom prst="rect">
            <a:avLst/>
          </a:prstGeom>
        </p:spPr>
      </p:pic>
      <p:sp>
        <p:nvSpPr>
          <p:cNvPr id="20" name="文本框 19"/>
          <p:cNvSpPr txBox="1"/>
          <p:nvPr/>
        </p:nvSpPr>
        <p:spPr>
          <a:xfrm>
            <a:off x="482249" y="3764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64960056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图表 8"/>
          <p:cNvGraphicFramePr/>
          <p:nvPr>
            <p:extLst>
              <p:ext uri="{D42A27DB-BD31-4B8C-83A1-F6EECF244321}">
                <p14:modId xmlns:p14="http://schemas.microsoft.com/office/powerpoint/2010/main" val="2789780356"/>
              </p:ext>
            </p:extLst>
          </p:nvPr>
        </p:nvGraphicFramePr>
        <p:xfrm>
          <a:off x="1193949" y="1866900"/>
          <a:ext cx="2792287" cy="2571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文本框 9"/>
          <p:cNvSpPr txBox="1"/>
          <p:nvPr/>
        </p:nvSpPr>
        <p:spPr>
          <a:xfrm>
            <a:off x="1962150" y="2714625"/>
            <a:ext cx="13336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 smtClean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80</a:t>
            </a:r>
            <a:r>
              <a:rPr lang="en-US" altLang="zh-CN" sz="4400" b="1" dirty="0" smtClean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%</a:t>
            </a:r>
            <a:endParaRPr lang="zh-CN" altLang="en-US" sz="4400" b="1" dirty="0">
              <a:solidFill>
                <a:schemeClr val="tx2">
                  <a:lumMod val="75000"/>
                </a:schemeClr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graphicFrame>
        <p:nvGraphicFramePr>
          <p:cNvPr id="11" name="图表 10"/>
          <p:cNvGraphicFramePr/>
          <p:nvPr>
            <p:extLst>
              <p:ext uri="{D42A27DB-BD31-4B8C-83A1-F6EECF244321}">
                <p14:modId xmlns:p14="http://schemas.microsoft.com/office/powerpoint/2010/main" val="2783596915"/>
              </p:ext>
            </p:extLst>
          </p:nvPr>
        </p:nvGraphicFramePr>
        <p:xfrm>
          <a:off x="4694386" y="1866900"/>
          <a:ext cx="2792287" cy="2571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图表 12"/>
          <p:cNvGraphicFramePr/>
          <p:nvPr>
            <p:extLst>
              <p:ext uri="{D42A27DB-BD31-4B8C-83A1-F6EECF244321}">
                <p14:modId xmlns:p14="http://schemas.microsoft.com/office/powerpoint/2010/main" val="2179823738"/>
              </p:ext>
            </p:extLst>
          </p:nvPr>
        </p:nvGraphicFramePr>
        <p:xfrm>
          <a:off x="8118624" y="1866900"/>
          <a:ext cx="2792287" cy="2571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文本框 14"/>
          <p:cNvSpPr txBox="1"/>
          <p:nvPr/>
        </p:nvSpPr>
        <p:spPr>
          <a:xfrm>
            <a:off x="5448300" y="2714625"/>
            <a:ext cx="13336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 smtClean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65</a:t>
            </a:r>
            <a:r>
              <a:rPr lang="en-US" altLang="zh-CN" sz="4400" b="1" dirty="0" smtClean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%</a:t>
            </a:r>
            <a:endParaRPr lang="zh-CN" altLang="en-US" sz="4400" b="1" dirty="0">
              <a:solidFill>
                <a:schemeClr val="tx2">
                  <a:lumMod val="75000"/>
                </a:schemeClr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8934450" y="2714624"/>
            <a:ext cx="13336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 smtClean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45</a:t>
            </a:r>
            <a:r>
              <a:rPr lang="en-US" altLang="zh-CN" sz="4400" b="1" dirty="0" smtClean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%</a:t>
            </a:r>
            <a:endParaRPr lang="zh-CN" altLang="en-US" sz="4400" b="1" dirty="0">
              <a:solidFill>
                <a:schemeClr val="tx2">
                  <a:lumMod val="75000"/>
                </a:schemeClr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17" name="椭圆 16"/>
          <p:cNvSpPr/>
          <p:nvPr/>
        </p:nvSpPr>
        <p:spPr>
          <a:xfrm>
            <a:off x="741824" y="4871634"/>
            <a:ext cx="152400" cy="1524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894224" y="4764684"/>
            <a:ext cx="31348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顺丰科技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椭圆 18"/>
          <p:cNvSpPr/>
          <p:nvPr/>
        </p:nvSpPr>
        <p:spPr>
          <a:xfrm>
            <a:off x="4395298" y="4871634"/>
            <a:ext cx="152400" cy="152400"/>
          </a:xfrm>
          <a:prstGeom prst="ellipse">
            <a:avLst/>
          </a:pr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文本框 19"/>
          <p:cNvSpPr txBox="1"/>
          <p:nvPr/>
        </p:nvSpPr>
        <p:spPr>
          <a:xfrm>
            <a:off x="4547698" y="4764683"/>
            <a:ext cx="31348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顺丰科技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椭圆 20"/>
          <p:cNvSpPr/>
          <p:nvPr/>
        </p:nvSpPr>
        <p:spPr>
          <a:xfrm>
            <a:off x="8048772" y="4871634"/>
            <a:ext cx="152400" cy="1524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文本框 21"/>
          <p:cNvSpPr txBox="1"/>
          <p:nvPr/>
        </p:nvSpPr>
        <p:spPr>
          <a:xfrm>
            <a:off x="8201172" y="4764682"/>
            <a:ext cx="31348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顺丰科技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482249" y="3764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80641919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箭头连接符 6"/>
          <p:cNvCxnSpPr/>
          <p:nvPr/>
        </p:nvCxnSpPr>
        <p:spPr>
          <a:xfrm>
            <a:off x="542380" y="3476073"/>
            <a:ext cx="9565152" cy="8579"/>
          </a:xfrm>
          <a:prstGeom prst="straightConnector1">
            <a:avLst/>
          </a:prstGeom>
          <a:ln w="25400">
            <a:solidFill>
              <a:srgbClr val="3A87C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/>
          <p:cNvSpPr/>
          <p:nvPr/>
        </p:nvSpPr>
        <p:spPr>
          <a:xfrm>
            <a:off x="1238475" y="2952814"/>
            <a:ext cx="1046980" cy="1046980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 9"/>
          <p:cNvSpPr/>
          <p:nvPr/>
        </p:nvSpPr>
        <p:spPr>
          <a:xfrm flipH="1">
            <a:off x="1251124" y="2952813"/>
            <a:ext cx="517748" cy="1045824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椭圆 11"/>
          <p:cNvSpPr/>
          <p:nvPr/>
        </p:nvSpPr>
        <p:spPr>
          <a:xfrm>
            <a:off x="3916754" y="2962339"/>
            <a:ext cx="1046980" cy="1046980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任意多边形 12"/>
          <p:cNvSpPr/>
          <p:nvPr/>
        </p:nvSpPr>
        <p:spPr>
          <a:xfrm flipH="1">
            <a:off x="3929403" y="2962338"/>
            <a:ext cx="517748" cy="1045824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/>
        </p:nvSpPr>
        <p:spPr>
          <a:xfrm>
            <a:off x="6582385" y="2962339"/>
            <a:ext cx="1046980" cy="1046980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任意多边形 14"/>
          <p:cNvSpPr/>
          <p:nvPr/>
        </p:nvSpPr>
        <p:spPr>
          <a:xfrm flipH="1">
            <a:off x="6595034" y="2962338"/>
            <a:ext cx="517748" cy="1045824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文本框 33"/>
          <p:cNvSpPr txBox="1"/>
          <p:nvPr/>
        </p:nvSpPr>
        <p:spPr>
          <a:xfrm>
            <a:off x="1203724" y="3212651"/>
            <a:ext cx="1130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Broadway" panose="04040905080B02020502" pitchFamily="82" charset="0"/>
              </a:rPr>
              <a:t>2010</a:t>
            </a:r>
            <a:endParaRPr lang="zh-CN" altLang="en-US" sz="2800" dirty="0">
              <a:solidFill>
                <a:schemeClr val="bg1"/>
              </a:solidFill>
              <a:latin typeface="Broadway" panose="04040905080B02020502" pitchFamily="82" charset="0"/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6547635" y="3212651"/>
            <a:ext cx="1130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Broadway" panose="04040905080B02020502" pitchFamily="82" charset="0"/>
              </a:rPr>
              <a:t>2012</a:t>
            </a:r>
            <a:endParaRPr lang="zh-CN" altLang="en-US" sz="2800" dirty="0">
              <a:solidFill>
                <a:schemeClr val="bg1"/>
              </a:solidFill>
              <a:latin typeface="Broadway" panose="04040905080B02020502" pitchFamily="82" charset="0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3904105" y="3212651"/>
            <a:ext cx="1130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Broadway" panose="04040905080B02020502" pitchFamily="82" charset="0"/>
              </a:rPr>
              <a:t>2011</a:t>
            </a:r>
            <a:endParaRPr lang="zh-CN" altLang="en-US" sz="2800" dirty="0">
              <a:solidFill>
                <a:schemeClr val="bg1"/>
              </a:solidFill>
              <a:latin typeface="Broadway" panose="04040905080B02020502" pitchFamily="82" charset="0"/>
            </a:endParaRPr>
          </a:p>
        </p:txBody>
      </p:sp>
      <p:sp>
        <p:nvSpPr>
          <p:cNvPr id="38" name="椭圆 37"/>
          <p:cNvSpPr/>
          <p:nvPr/>
        </p:nvSpPr>
        <p:spPr>
          <a:xfrm>
            <a:off x="9176793" y="2726425"/>
            <a:ext cx="1509052" cy="1509052"/>
          </a:xfrm>
          <a:prstGeom prst="ellipse">
            <a:avLst/>
          </a:prstGeom>
          <a:solidFill>
            <a:srgbClr val="F0D5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椭圆 15"/>
          <p:cNvSpPr/>
          <p:nvPr/>
        </p:nvSpPr>
        <p:spPr>
          <a:xfrm>
            <a:off x="9402087" y="2956535"/>
            <a:ext cx="1046980" cy="1046980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任意多边形 16"/>
          <p:cNvSpPr/>
          <p:nvPr/>
        </p:nvSpPr>
        <p:spPr>
          <a:xfrm flipH="1">
            <a:off x="9414736" y="2956534"/>
            <a:ext cx="517748" cy="1045824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文本框 34"/>
          <p:cNvSpPr txBox="1"/>
          <p:nvPr/>
        </p:nvSpPr>
        <p:spPr>
          <a:xfrm>
            <a:off x="9386161" y="3217529"/>
            <a:ext cx="1130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Broadway" panose="04040905080B02020502" pitchFamily="82" charset="0"/>
              </a:rPr>
              <a:t>2013</a:t>
            </a:r>
            <a:endParaRPr lang="zh-CN" altLang="en-US" sz="2800" dirty="0">
              <a:solidFill>
                <a:schemeClr val="bg1"/>
              </a:solidFill>
              <a:latin typeface="Broadway" panose="04040905080B02020502" pitchFamily="82" charset="0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316752" y="389989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3086119" y="1001021"/>
            <a:ext cx="1800000" cy="1440000"/>
            <a:chOff x="726293" y="1281297"/>
            <a:chExt cx="1815376" cy="2144668"/>
          </a:xfrm>
        </p:grpSpPr>
        <p:sp>
          <p:nvSpPr>
            <p:cNvPr id="3" name="矩形 2"/>
            <p:cNvSpPr/>
            <p:nvPr/>
          </p:nvSpPr>
          <p:spPr>
            <a:xfrm>
              <a:off x="726293" y="1281297"/>
              <a:ext cx="1815376" cy="18153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等腰三角形 3"/>
            <p:cNvSpPr/>
            <p:nvPr/>
          </p:nvSpPr>
          <p:spPr>
            <a:xfrm rot="10800000">
              <a:off x="1794966" y="2981686"/>
              <a:ext cx="477970" cy="444279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9" name="组合 28"/>
          <p:cNvGrpSpPr/>
          <p:nvPr/>
        </p:nvGrpSpPr>
        <p:grpSpPr>
          <a:xfrm flipH="1" flipV="1">
            <a:off x="1239487" y="4162411"/>
            <a:ext cx="1800000" cy="1440000"/>
            <a:chOff x="726293" y="1281297"/>
            <a:chExt cx="1815376" cy="2144668"/>
          </a:xfrm>
        </p:grpSpPr>
        <p:sp>
          <p:nvSpPr>
            <p:cNvPr id="39" name="矩形 38"/>
            <p:cNvSpPr/>
            <p:nvPr/>
          </p:nvSpPr>
          <p:spPr>
            <a:xfrm>
              <a:off x="726293" y="1281297"/>
              <a:ext cx="1815376" cy="18153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等腰三角形 39"/>
            <p:cNvSpPr/>
            <p:nvPr/>
          </p:nvSpPr>
          <p:spPr>
            <a:xfrm rot="10800000">
              <a:off x="1794966" y="2981686"/>
              <a:ext cx="477970" cy="444279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1" name="组合 40"/>
          <p:cNvGrpSpPr/>
          <p:nvPr/>
        </p:nvGrpSpPr>
        <p:grpSpPr>
          <a:xfrm>
            <a:off x="8508630" y="1001021"/>
            <a:ext cx="1800000" cy="1440000"/>
            <a:chOff x="461539" y="1016543"/>
            <a:chExt cx="2080130" cy="2483473"/>
          </a:xfrm>
          <a:solidFill>
            <a:srgbClr val="E8B161"/>
          </a:solidFill>
        </p:grpSpPr>
        <p:sp>
          <p:nvSpPr>
            <p:cNvPr id="42" name="矩形 41"/>
            <p:cNvSpPr/>
            <p:nvPr/>
          </p:nvSpPr>
          <p:spPr>
            <a:xfrm>
              <a:off x="461539" y="1016543"/>
              <a:ext cx="2080130" cy="208013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3" name="等腰三角形 42"/>
            <p:cNvSpPr/>
            <p:nvPr/>
          </p:nvSpPr>
          <p:spPr>
            <a:xfrm rot="10800000">
              <a:off x="1494689" y="2784866"/>
              <a:ext cx="769382" cy="71515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4" name="组合 43"/>
          <p:cNvGrpSpPr/>
          <p:nvPr/>
        </p:nvGrpSpPr>
        <p:grpSpPr>
          <a:xfrm flipH="1" flipV="1">
            <a:off x="6612090" y="4162411"/>
            <a:ext cx="1800000" cy="1440000"/>
            <a:chOff x="726293" y="1281297"/>
            <a:chExt cx="1815376" cy="2144668"/>
          </a:xfrm>
        </p:grpSpPr>
        <p:sp>
          <p:nvSpPr>
            <p:cNvPr id="45" name="矩形 44"/>
            <p:cNvSpPr/>
            <p:nvPr/>
          </p:nvSpPr>
          <p:spPr>
            <a:xfrm>
              <a:off x="726293" y="1281297"/>
              <a:ext cx="1815376" cy="18153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6" name="等腰三角形 45"/>
            <p:cNvSpPr/>
            <p:nvPr/>
          </p:nvSpPr>
          <p:spPr>
            <a:xfrm rot="10800000">
              <a:off x="1794966" y="2981686"/>
              <a:ext cx="477970" cy="444279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7" name="文本框 46"/>
          <p:cNvSpPr txBox="1"/>
          <p:nvPr/>
        </p:nvSpPr>
        <p:spPr>
          <a:xfrm>
            <a:off x="3294311" y="1259356"/>
            <a:ext cx="18041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1321296" y="4420746"/>
            <a:ext cx="18041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文本框 48"/>
          <p:cNvSpPr txBox="1"/>
          <p:nvPr/>
        </p:nvSpPr>
        <p:spPr>
          <a:xfrm>
            <a:off x="6665865" y="4420746"/>
            <a:ext cx="15484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文本框 49"/>
          <p:cNvSpPr txBox="1"/>
          <p:nvPr/>
        </p:nvSpPr>
        <p:spPr>
          <a:xfrm>
            <a:off x="8661856" y="1259356"/>
            <a:ext cx="18041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1" name="直接箭头连接符 50"/>
          <p:cNvCxnSpPr/>
          <p:nvPr/>
        </p:nvCxnSpPr>
        <p:spPr>
          <a:xfrm>
            <a:off x="10668539" y="3475671"/>
            <a:ext cx="669950" cy="0"/>
          </a:xfrm>
          <a:prstGeom prst="straightConnector1">
            <a:avLst/>
          </a:prstGeom>
          <a:ln w="25400">
            <a:solidFill>
              <a:srgbClr val="E1992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5816457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2721772" y="2643647"/>
            <a:ext cx="71013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400" dirty="0" smtClean="0">
                <a:solidFill>
                  <a:srgbClr val="3A87C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  You</a:t>
            </a:r>
            <a:endParaRPr lang="zh-CN" altLang="en-US" sz="5400" dirty="0">
              <a:solidFill>
                <a:srgbClr val="3A87C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4694832" y="4283719"/>
            <a:ext cx="28023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 smtClean="0">
                <a:solidFill>
                  <a:srgbClr val="FFFFC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www.sf-tech.com</a:t>
            </a:r>
            <a:endParaRPr lang="zh-CN" altLang="en-US" sz="2000" dirty="0">
              <a:solidFill>
                <a:srgbClr val="FFFFC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04688683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文本框 13"/>
          <p:cNvSpPr txBox="1"/>
          <p:nvPr/>
        </p:nvSpPr>
        <p:spPr>
          <a:xfrm>
            <a:off x="6069562" y="1587117"/>
            <a:ext cx="140806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800" dirty="0" smtClean="0">
                <a:solidFill>
                  <a:srgbClr val="DDA44F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rPr>
              <a:t>P</a:t>
            </a:r>
            <a:endParaRPr lang="zh-CN" altLang="en-US" sz="13800" dirty="0">
              <a:solidFill>
                <a:srgbClr val="DDA44F"/>
              </a:solidFill>
              <a:latin typeface="方正大黑简体" panose="03000509000000000000" pitchFamily="65" charset="-122"/>
              <a:ea typeface="方正大黑简体" panose="03000509000000000000" pitchFamily="65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926243" y="2462566"/>
            <a:ext cx="13577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1500">
                <a:solidFill>
                  <a:srgbClr val="E36A6C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defRPr>
            </a:lvl1pPr>
          </a:lstStyle>
          <a:p>
            <a:r>
              <a:rPr lang="en-US" altLang="zh-CN" sz="6000" dirty="0">
                <a:solidFill>
                  <a:srgbClr val="DDA44F"/>
                </a:solidFill>
              </a:rPr>
              <a:t>art</a:t>
            </a:r>
            <a:endParaRPr lang="zh-CN" altLang="en-US" sz="6000" dirty="0">
              <a:solidFill>
                <a:srgbClr val="DDA44F"/>
              </a:solidFill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8065773" y="1764088"/>
            <a:ext cx="403906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500" b="1" dirty="0" smtClean="0">
                <a:solidFill>
                  <a:srgbClr val="519CD6"/>
                </a:solidFill>
                <a:latin typeface="Helvetica LT Std" panose="020B0504020202020204" pitchFamily="34" charset="0"/>
                <a:ea typeface="Hiragino Sans GB W3" panose="020B0300000000000000" pitchFamily="34" charset="-122"/>
              </a:rPr>
              <a:t>1</a:t>
            </a:r>
            <a:endParaRPr lang="zh-CN" altLang="en-US" sz="11500" b="1" dirty="0">
              <a:solidFill>
                <a:srgbClr val="519CD6"/>
              </a:solidFill>
              <a:latin typeface="Helvetica LT Std" panose="020B0504020202020204" pitchFamily="34" charset="0"/>
              <a:ea typeface="Hiragino Sans GB W3" panose="020B0300000000000000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6100801" y="3582723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6076948" y="3484486"/>
            <a:ext cx="298087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>
            <a:off x="6076948" y="4278980"/>
            <a:ext cx="298087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组合 7"/>
          <p:cNvGrpSpPr/>
          <p:nvPr/>
        </p:nvGrpSpPr>
        <p:grpSpPr>
          <a:xfrm>
            <a:off x="2817815" y="1854758"/>
            <a:ext cx="2542903" cy="2823396"/>
            <a:chOff x="907956" y="1083233"/>
            <a:chExt cx="2542903" cy="2823396"/>
          </a:xfrm>
        </p:grpSpPr>
        <p:sp>
          <p:nvSpPr>
            <p:cNvPr id="7" name="圆角矩形 6"/>
            <p:cNvSpPr/>
            <p:nvPr/>
          </p:nvSpPr>
          <p:spPr>
            <a:xfrm>
              <a:off x="907956" y="1083233"/>
              <a:ext cx="2542903" cy="2542903"/>
            </a:xfrm>
            <a:prstGeom prst="roundRect">
              <a:avLst>
                <a:gd name="adj" fmla="val 7763"/>
              </a:avLst>
            </a:prstGeom>
            <a:solidFill>
              <a:srgbClr val="519C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任意多边形 12"/>
            <p:cNvSpPr/>
            <p:nvPr/>
          </p:nvSpPr>
          <p:spPr>
            <a:xfrm rot="2700000">
              <a:off x="1354021" y="1945953"/>
              <a:ext cx="2386795" cy="1534558"/>
            </a:xfrm>
            <a:custGeom>
              <a:avLst/>
              <a:gdLst>
                <a:gd name="connsiteX0" fmla="*/ 0 w 2386795"/>
                <a:gd name="connsiteY0" fmla="*/ 0 h 1534558"/>
                <a:gd name="connsiteX1" fmla="*/ 1712713 w 2386795"/>
                <a:gd name="connsiteY1" fmla="*/ 10255 h 1534558"/>
                <a:gd name="connsiteX2" fmla="*/ 2328976 w 2386795"/>
                <a:gd name="connsiteY2" fmla="*/ 626518 h 1534558"/>
                <a:gd name="connsiteX3" fmla="*/ 2328976 w 2386795"/>
                <a:gd name="connsiteY3" fmla="*/ 905692 h 1534558"/>
                <a:gd name="connsiteX4" fmla="*/ 1700110 w 2386795"/>
                <a:gd name="connsiteY4" fmla="*/ 1534558 h 1534558"/>
                <a:gd name="connsiteX5" fmla="*/ 825725 w 2386795"/>
                <a:gd name="connsiteY5" fmla="*/ 1534558 h 1534558"/>
                <a:gd name="connsiteX6" fmla="*/ 825725 w 2386795"/>
                <a:gd name="connsiteY6" fmla="*/ 825725 h 1534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6795" h="1534558">
                  <a:moveTo>
                    <a:pt x="0" y="0"/>
                  </a:moveTo>
                  <a:lnTo>
                    <a:pt x="1712713" y="10255"/>
                  </a:lnTo>
                  <a:lnTo>
                    <a:pt x="2328976" y="626518"/>
                  </a:lnTo>
                  <a:cubicBezTo>
                    <a:pt x="2406068" y="703610"/>
                    <a:pt x="2406068" y="828601"/>
                    <a:pt x="2328976" y="905692"/>
                  </a:cubicBezTo>
                  <a:lnTo>
                    <a:pt x="1700110" y="1534558"/>
                  </a:lnTo>
                  <a:lnTo>
                    <a:pt x="825725" y="1534558"/>
                  </a:lnTo>
                  <a:lnTo>
                    <a:pt x="825725" y="825725"/>
                  </a:lnTo>
                  <a:close/>
                </a:path>
              </a:pathLst>
            </a:custGeom>
            <a:solidFill>
              <a:srgbClr val="3A87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饼形 3"/>
            <p:cNvSpPr/>
            <p:nvPr/>
          </p:nvSpPr>
          <p:spPr>
            <a:xfrm>
              <a:off x="1353023" y="1332637"/>
              <a:ext cx="1811384" cy="1811384"/>
            </a:xfrm>
            <a:prstGeom prst="pie">
              <a:avLst/>
            </a:prstGeom>
            <a:solidFill>
              <a:srgbClr val="FFFE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8602419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543209" y="2240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椭圆 4"/>
          <p:cNvSpPr/>
          <p:nvPr/>
        </p:nvSpPr>
        <p:spPr>
          <a:xfrm>
            <a:off x="967457" y="1562108"/>
            <a:ext cx="900752" cy="900752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椭圆 6"/>
          <p:cNvSpPr/>
          <p:nvPr/>
        </p:nvSpPr>
        <p:spPr>
          <a:xfrm>
            <a:off x="967457" y="3208019"/>
            <a:ext cx="900752" cy="900752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椭圆 7"/>
          <p:cNvSpPr/>
          <p:nvPr/>
        </p:nvSpPr>
        <p:spPr>
          <a:xfrm>
            <a:off x="967457" y="4853929"/>
            <a:ext cx="900752" cy="900752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/>
          <p:cNvSpPr txBox="1"/>
          <p:nvPr/>
        </p:nvSpPr>
        <p:spPr>
          <a:xfrm>
            <a:off x="926513" y="1604567"/>
            <a:ext cx="10235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i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1</a:t>
            </a:r>
            <a:endParaRPr lang="zh-CN" altLang="en-US" sz="4800" b="1" i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926513" y="3256544"/>
            <a:ext cx="10235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i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2</a:t>
            </a:r>
            <a:endParaRPr lang="zh-CN" altLang="en-US" sz="4800" b="1" i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926513" y="4923684"/>
            <a:ext cx="10235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i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3</a:t>
            </a:r>
            <a:endParaRPr lang="zh-CN" altLang="en-US" sz="4800" b="1" i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1868206" y="2768221"/>
            <a:ext cx="4129527" cy="0"/>
          </a:xfrm>
          <a:prstGeom prst="line">
            <a:avLst/>
          </a:prstGeom>
          <a:ln>
            <a:solidFill>
              <a:srgbClr val="529D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>
            <a:off x="1868207" y="4419600"/>
            <a:ext cx="4129527" cy="0"/>
          </a:xfrm>
          <a:prstGeom prst="line">
            <a:avLst/>
          </a:prstGeom>
          <a:ln>
            <a:solidFill>
              <a:srgbClr val="529D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>
            <a:off x="1868208" y="6070979"/>
            <a:ext cx="4129527" cy="0"/>
          </a:xfrm>
          <a:prstGeom prst="line">
            <a:avLst/>
          </a:prstGeom>
          <a:ln>
            <a:solidFill>
              <a:srgbClr val="529D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/>
          <p:cNvSpPr txBox="1"/>
          <p:nvPr/>
        </p:nvSpPr>
        <p:spPr>
          <a:xfrm>
            <a:off x="1992949" y="1611590"/>
            <a:ext cx="15638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小标题</a:t>
            </a:r>
            <a:endParaRPr lang="zh-CN" altLang="en-US" sz="20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2000273" y="2053428"/>
            <a:ext cx="41409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1950052" y="3236797"/>
            <a:ext cx="15638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小标题</a:t>
            </a:r>
            <a:endParaRPr lang="zh-CN" altLang="en-US" sz="20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1957376" y="3678635"/>
            <a:ext cx="41409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1950052" y="4876665"/>
            <a:ext cx="15638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小标题</a:t>
            </a:r>
            <a:endParaRPr lang="zh-CN" altLang="en-US" sz="20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1957376" y="5318503"/>
            <a:ext cx="41409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cxnSp>
        <p:nvCxnSpPr>
          <p:cNvPr id="25" name="直接连接符 24"/>
          <p:cNvCxnSpPr/>
          <p:nvPr/>
        </p:nvCxnSpPr>
        <p:spPr>
          <a:xfrm>
            <a:off x="7373315" y="2761198"/>
            <a:ext cx="4129527" cy="0"/>
          </a:xfrm>
          <a:prstGeom prst="line">
            <a:avLst/>
          </a:prstGeom>
          <a:ln>
            <a:solidFill>
              <a:srgbClr val="E8B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/>
          <p:nvPr/>
        </p:nvCxnSpPr>
        <p:spPr>
          <a:xfrm>
            <a:off x="7373316" y="4412577"/>
            <a:ext cx="4129527" cy="0"/>
          </a:xfrm>
          <a:prstGeom prst="line">
            <a:avLst/>
          </a:prstGeom>
          <a:ln>
            <a:solidFill>
              <a:srgbClr val="E8B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/>
          <p:nvPr/>
        </p:nvCxnSpPr>
        <p:spPr>
          <a:xfrm>
            <a:off x="7373317" y="6063956"/>
            <a:ext cx="4129527" cy="0"/>
          </a:xfrm>
          <a:prstGeom prst="line">
            <a:avLst/>
          </a:prstGeom>
          <a:ln>
            <a:solidFill>
              <a:srgbClr val="E8B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/>
          <p:cNvSpPr txBox="1"/>
          <p:nvPr/>
        </p:nvSpPr>
        <p:spPr>
          <a:xfrm>
            <a:off x="7455161" y="1604567"/>
            <a:ext cx="15638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rgbClr val="E8B16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小标题</a:t>
            </a:r>
            <a:endParaRPr lang="zh-CN" altLang="en-US" sz="2000" b="1" dirty="0">
              <a:solidFill>
                <a:srgbClr val="E8B16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7505382" y="2046405"/>
            <a:ext cx="41409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7455161" y="3229774"/>
            <a:ext cx="15638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rgbClr val="E8B16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小标题</a:t>
            </a:r>
            <a:endParaRPr lang="zh-CN" altLang="en-US" sz="2000" b="1" dirty="0">
              <a:solidFill>
                <a:srgbClr val="E8B16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7462485" y="3671612"/>
            <a:ext cx="41409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32" name="文本框 31"/>
          <p:cNvSpPr txBox="1"/>
          <p:nvPr/>
        </p:nvSpPr>
        <p:spPr>
          <a:xfrm>
            <a:off x="7455161" y="4869642"/>
            <a:ext cx="15638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rgbClr val="E8B16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小标题</a:t>
            </a:r>
            <a:endParaRPr lang="zh-CN" altLang="en-US" sz="2000" b="1" dirty="0">
              <a:solidFill>
                <a:srgbClr val="E8B16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7462485" y="5311480"/>
            <a:ext cx="41409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34" name="椭圆 33"/>
          <p:cNvSpPr/>
          <p:nvPr/>
        </p:nvSpPr>
        <p:spPr>
          <a:xfrm>
            <a:off x="6368284" y="1562108"/>
            <a:ext cx="900752" cy="900752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519CD6"/>
              </a:solidFill>
            </a:endParaRPr>
          </a:p>
        </p:txBody>
      </p:sp>
      <p:sp>
        <p:nvSpPr>
          <p:cNvPr id="35" name="椭圆 34"/>
          <p:cNvSpPr/>
          <p:nvPr/>
        </p:nvSpPr>
        <p:spPr>
          <a:xfrm>
            <a:off x="6368284" y="3208019"/>
            <a:ext cx="900752" cy="900752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椭圆 35"/>
          <p:cNvSpPr/>
          <p:nvPr/>
        </p:nvSpPr>
        <p:spPr>
          <a:xfrm>
            <a:off x="6368284" y="4853929"/>
            <a:ext cx="900752" cy="900752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框 36"/>
          <p:cNvSpPr txBox="1"/>
          <p:nvPr/>
        </p:nvSpPr>
        <p:spPr>
          <a:xfrm>
            <a:off x="6327340" y="1604567"/>
            <a:ext cx="10235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i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4</a:t>
            </a:r>
            <a:endParaRPr lang="zh-CN" altLang="en-US" sz="4800" b="1" i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8" name="文本框 37"/>
          <p:cNvSpPr txBox="1"/>
          <p:nvPr/>
        </p:nvSpPr>
        <p:spPr>
          <a:xfrm>
            <a:off x="6327340" y="3256544"/>
            <a:ext cx="10235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i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5</a:t>
            </a:r>
            <a:endParaRPr lang="zh-CN" altLang="en-US" sz="4800" b="1" i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9" name="文本框 38"/>
          <p:cNvSpPr txBox="1"/>
          <p:nvPr/>
        </p:nvSpPr>
        <p:spPr>
          <a:xfrm>
            <a:off x="6327340" y="4923684"/>
            <a:ext cx="10235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i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06</a:t>
            </a:r>
            <a:endParaRPr lang="zh-CN" altLang="en-US" sz="4800" b="1" i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02381196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1091821" y="1569495"/>
            <a:ext cx="6837528" cy="2006220"/>
          </a:xfrm>
          <a:prstGeom prst="rect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1091821" y="3643954"/>
            <a:ext cx="3398291" cy="2006220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572000" y="3643954"/>
            <a:ext cx="3357348" cy="2006220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8011236" y="1569495"/>
            <a:ext cx="3316406" cy="2006220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8011236" y="3643954"/>
            <a:ext cx="3316406" cy="2006220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" name="Picture 4" descr="\\MAGNUM\Projects\Microsoft\Cloud Power FY12\Design\ICONS_PNG\Private_Cloud.png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72402" y="1247562"/>
            <a:ext cx="2571801" cy="25711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4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4814" y="1784769"/>
            <a:ext cx="991428" cy="1026508"/>
          </a:xfrm>
          <a:prstGeom prst="rect">
            <a:avLst/>
          </a:prstGeom>
        </p:spPr>
      </p:pic>
      <p:pic>
        <p:nvPicPr>
          <p:cNvPr id="13" name="Picture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1500" y="3897648"/>
            <a:ext cx="1010359" cy="1046110"/>
          </a:xfrm>
          <a:prstGeom prst="rect">
            <a:avLst/>
          </a:prstGeom>
        </p:spPr>
      </p:pic>
      <p:pic>
        <p:nvPicPr>
          <p:cNvPr id="14" name="Picture 7" descr="C:\Users\Jonahs\Dropbox\Projects SCOTT\MEET Windows Azure\source\Background\tile-icon-identity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1538" y="3897648"/>
            <a:ext cx="958271" cy="958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5" descr="C:\Users\Jonahs\Dropbox\Projects SCOTT\MEET Windows Azure\source\Background\tile-icon-CDN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3722" y="3790989"/>
            <a:ext cx="1131433" cy="1131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文本框 15"/>
          <p:cNvSpPr txBox="1"/>
          <p:nvPr/>
        </p:nvSpPr>
        <p:spPr>
          <a:xfrm>
            <a:off x="3872161" y="1856095"/>
            <a:ext cx="1746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标题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872161" y="2317760"/>
            <a:ext cx="34938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ftech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8795981" y="2981352"/>
            <a:ext cx="1746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标题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8795981" y="4947026"/>
            <a:ext cx="1746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标题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5349923" y="4947026"/>
            <a:ext cx="1746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标题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1883222" y="4947026"/>
            <a:ext cx="1746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标题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482249" y="3764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02901890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椭圆 6"/>
          <p:cNvSpPr/>
          <p:nvPr/>
        </p:nvSpPr>
        <p:spPr>
          <a:xfrm>
            <a:off x="1446664" y="1588854"/>
            <a:ext cx="2306471" cy="2306471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椭圆 7"/>
          <p:cNvSpPr/>
          <p:nvPr/>
        </p:nvSpPr>
        <p:spPr>
          <a:xfrm>
            <a:off x="4669529" y="1112178"/>
            <a:ext cx="3259821" cy="3259821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8776866" y="1588852"/>
            <a:ext cx="2306471" cy="2306471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任意多边形 17"/>
          <p:cNvSpPr/>
          <p:nvPr/>
        </p:nvSpPr>
        <p:spPr>
          <a:xfrm flipH="1">
            <a:off x="4669529" y="1112178"/>
            <a:ext cx="1629911" cy="3259822"/>
          </a:xfrm>
          <a:custGeom>
            <a:avLst/>
            <a:gdLst>
              <a:gd name="connsiteX0" fmla="*/ 0 w 1629911"/>
              <a:gd name="connsiteY0" fmla="*/ 0 h 3259822"/>
              <a:gd name="connsiteX1" fmla="*/ 1629911 w 1629911"/>
              <a:gd name="connsiteY1" fmla="*/ 1629911 h 3259822"/>
              <a:gd name="connsiteX2" fmla="*/ 0 w 1629911"/>
              <a:gd name="connsiteY2" fmla="*/ 3259822 h 3259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9911" h="3259822">
                <a:moveTo>
                  <a:pt x="0" y="0"/>
                </a:moveTo>
                <a:cubicBezTo>
                  <a:pt x="900175" y="0"/>
                  <a:pt x="1629911" y="729736"/>
                  <a:pt x="1629911" y="1629911"/>
                </a:cubicBezTo>
                <a:cubicBezTo>
                  <a:pt x="1629911" y="2530086"/>
                  <a:pt x="900175" y="3259822"/>
                  <a:pt x="0" y="3259822"/>
                </a:cubicBezTo>
                <a:close/>
              </a:path>
            </a:pathLst>
          </a:cu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任意多边形 23"/>
          <p:cNvSpPr/>
          <p:nvPr/>
        </p:nvSpPr>
        <p:spPr>
          <a:xfrm flipH="1">
            <a:off x="1459314" y="1591402"/>
            <a:ext cx="1140585" cy="2303921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任意多边形 24"/>
          <p:cNvSpPr/>
          <p:nvPr/>
        </p:nvSpPr>
        <p:spPr>
          <a:xfrm flipH="1">
            <a:off x="8777484" y="1588852"/>
            <a:ext cx="1140585" cy="2303921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6" name="Picture 2" descr="\\MAGNUM\Projects\Microsoft\Cloud Power FY12\Design\ICONS_PNG\Tower.png"/>
          <p:cNvPicPr>
            <a:picLocks noChangeAspect="1" noChangeArrowheads="1"/>
          </p:cNvPicPr>
          <p:nvPr/>
        </p:nvPicPr>
        <p:blipFill rotWithShape="1">
          <a:blip r:embed="rId2" cstate="print">
            <a:lum bright="100000" contrast="100000"/>
          </a:blip>
          <a:srcRect t="22057" b="22140"/>
          <a:stretch/>
        </p:blipFill>
        <p:spPr bwMode="auto">
          <a:xfrm>
            <a:off x="4932291" y="1919041"/>
            <a:ext cx="2759598" cy="1539556"/>
          </a:xfrm>
          <a:prstGeom prst="rect">
            <a:avLst/>
          </a:prstGeom>
          <a:noFill/>
        </p:spPr>
      </p:pic>
      <p:sp>
        <p:nvSpPr>
          <p:cNvPr id="27" name="Freeform 86"/>
          <p:cNvSpPr>
            <a:spLocks noEditPoints="1"/>
          </p:cNvSpPr>
          <p:nvPr/>
        </p:nvSpPr>
        <p:spPr bwMode="black">
          <a:xfrm>
            <a:off x="2107514" y="2460462"/>
            <a:ext cx="664508" cy="668187"/>
          </a:xfrm>
          <a:custGeom>
            <a:avLst/>
            <a:gdLst>
              <a:gd name="T0" fmla="*/ 287 w 292"/>
              <a:gd name="T1" fmla="*/ 113 h 294"/>
              <a:gd name="T2" fmla="*/ 239 w 292"/>
              <a:gd name="T3" fmla="*/ 105 h 294"/>
              <a:gd name="T4" fmla="*/ 252 w 292"/>
              <a:gd name="T5" fmla="*/ 58 h 294"/>
              <a:gd name="T6" fmla="*/ 229 w 292"/>
              <a:gd name="T7" fmla="*/ 32 h 294"/>
              <a:gd name="T8" fmla="*/ 187 w 292"/>
              <a:gd name="T9" fmla="*/ 57 h 294"/>
              <a:gd name="T10" fmla="*/ 167 w 292"/>
              <a:gd name="T11" fmla="*/ 6 h 294"/>
              <a:gd name="T12" fmla="*/ 132 w 292"/>
              <a:gd name="T13" fmla="*/ 0 h 294"/>
              <a:gd name="T14" fmla="*/ 115 w 292"/>
              <a:gd name="T15" fmla="*/ 53 h 294"/>
              <a:gd name="T16" fmla="*/ 72 w 292"/>
              <a:gd name="T17" fmla="*/ 31 h 294"/>
              <a:gd name="T18" fmla="*/ 42 w 292"/>
              <a:gd name="T19" fmla="*/ 49 h 294"/>
              <a:gd name="T20" fmla="*/ 59 w 292"/>
              <a:gd name="T21" fmla="*/ 95 h 294"/>
              <a:gd name="T22" fmla="*/ 12 w 292"/>
              <a:gd name="T23" fmla="*/ 107 h 294"/>
              <a:gd name="T24" fmla="*/ 0 w 292"/>
              <a:gd name="T25" fmla="*/ 140 h 294"/>
              <a:gd name="T26" fmla="*/ 43 w 292"/>
              <a:gd name="T27" fmla="*/ 164 h 294"/>
              <a:gd name="T28" fmla="*/ 14 w 292"/>
              <a:gd name="T29" fmla="*/ 204 h 294"/>
              <a:gd name="T30" fmla="*/ 27 w 292"/>
              <a:gd name="T31" fmla="*/ 237 h 294"/>
              <a:gd name="T32" fmla="*/ 75 w 292"/>
              <a:gd name="T33" fmla="*/ 227 h 294"/>
              <a:gd name="T34" fmla="*/ 79 w 292"/>
              <a:gd name="T35" fmla="*/ 276 h 294"/>
              <a:gd name="T36" fmla="*/ 109 w 292"/>
              <a:gd name="T37" fmla="*/ 293 h 294"/>
              <a:gd name="T38" fmla="*/ 140 w 292"/>
              <a:gd name="T39" fmla="*/ 255 h 294"/>
              <a:gd name="T40" fmla="*/ 152 w 292"/>
              <a:gd name="T41" fmla="*/ 255 h 294"/>
              <a:gd name="T42" fmla="*/ 183 w 292"/>
              <a:gd name="T43" fmla="*/ 293 h 294"/>
              <a:gd name="T44" fmla="*/ 213 w 292"/>
              <a:gd name="T45" fmla="*/ 276 h 294"/>
              <a:gd name="T46" fmla="*/ 217 w 292"/>
              <a:gd name="T47" fmla="*/ 227 h 294"/>
              <a:gd name="T48" fmla="*/ 265 w 292"/>
              <a:gd name="T49" fmla="*/ 237 h 294"/>
              <a:gd name="T50" fmla="*/ 278 w 292"/>
              <a:gd name="T51" fmla="*/ 204 h 294"/>
              <a:gd name="T52" fmla="*/ 249 w 292"/>
              <a:gd name="T53" fmla="*/ 164 h 294"/>
              <a:gd name="T54" fmla="*/ 292 w 292"/>
              <a:gd name="T55" fmla="*/ 140 h 294"/>
              <a:gd name="T56" fmla="*/ 187 w 292"/>
              <a:gd name="T57" fmla="*/ 193 h 294"/>
              <a:gd name="T58" fmla="*/ 105 w 292"/>
              <a:gd name="T59" fmla="*/ 193 h 294"/>
              <a:gd name="T60" fmla="*/ 105 w 292"/>
              <a:gd name="T61" fmla="*/ 111 h 294"/>
              <a:gd name="T62" fmla="*/ 187 w 292"/>
              <a:gd name="T63" fmla="*/ 111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92" h="294">
                <a:moveTo>
                  <a:pt x="292" y="140"/>
                </a:moveTo>
                <a:cubicBezTo>
                  <a:pt x="287" y="113"/>
                  <a:pt x="287" y="113"/>
                  <a:pt x="287" y="113"/>
                </a:cubicBezTo>
                <a:cubicBezTo>
                  <a:pt x="286" y="110"/>
                  <a:pt x="284" y="108"/>
                  <a:pt x="280" y="107"/>
                </a:cubicBezTo>
                <a:cubicBezTo>
                  <a:pt x="239" y="105"/>
                  <a:pt x="239" y="105"/>
                  <a:pt x="239" y="105"/>
                </a:cubicBezTo>
                <a:cubicBezTo>
                  <a:pt x="237" y="102"/>
                  <a:pt x="235" y="98"/>
                  <a:pt x="233" y="95"/>
                </a:cubicBezTo>
                <a:cubicBezTo>
                  <a:pt x="252" y="58"/>
                  <a:pt x="252" y="58"/>
                  <a:pt x="252" y="58"/>
                </a:cubicBezTo>
                <a:cubicBezTo>
                  <a:pt x="254" y="55"/>
                  <a:pt x="253" y="51"/>
                  <a:pt x="250" y="49"/>
                </a:cubicBezTo>
                <a:cubicBezTo>
                  <a:pt x="229" y="32"/>
                  <a:pt x="229" y="32"/>
                  <a:pt x="229" y="32"/>
                </a:cubicBezTo>
                <a:cubicBezTo>
                  <a:pt x="227" y="29"/>
                  <a:pt x="223" y="29"/>
                  <a:pt x="220" y="31"/>
                </a:cubicBezTo>
                <a:cubicBezTo>
                  <a:pt x="187" y="57"/>
                  <a:pt x="187" y="57"/>
                  <a:pt x="187" y="57"/>
                </a:cubicBezTo>
                <a:cubicBezTo>
                  <a:pt x="184" y="55"/>
                  <a:pt x="181" y="54"/>
                  <a:pt x="177" y="53"/>
                </a:cubicBezTo>
                <a:cubicBezTo>
                  <a:pt x="167" y="6"/>
                  <a:pt x="167" y="6"/>
                  <a:pt x="167" y="6"/>
                </a:cubicBezTo>
                <a:cubicBezTo>
                  <a:pt x="166" y="3"/>
                  <a:pt x="163" y="0"/>
                  <a:pt x="160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29" y="0"/>
                  <a:pt x="126" y="3"/>
                  <a:pt x="125" y="6"/>
                </a:cubicBezTo>
                <a:cubicBezTo>
                  <a:pt x="115" y="53"/>
                  <a:pt x="115" y="53"/>
                  <a:pt x="115" y="53"/>
                </a:cubicBezTo>
                <a:cubicBezTo>
                  <a:pt x="111" y="54"/>
                  <a:pt x="108" y="55"/>
                  <a:pt x="105" y="57"/>
                </a:cubicBezTo>
                <a:cubicBezTo>
                  <a:pt x="72" y="31"/>
                  <a:pt x="72" y="31"/>
                  <a:pt x="72" y="31"/>
                </a:cubicBezTo>
                <a:cubicBezTo>
                  <a:pt x="69" y="29"/>
                  <a:pt x="65" y="29"/>
                  <a:pt x="63" y="31"/>
                </a:cubicBezTo>
                <a:cubicBezTo>
                  <a:pt x="42" y="49"/>
                  <a:pt x="42" y="49"/>
                  <a:pt x="42" y="49"/>
                </a:cubicBezTo>
                <a:cubicBezTo>
                  <a:pt x="39" y="51"/>
                  <a:pt x="39" y="55"/>
                  <a:pt x="40" y="58"/>
                </a:cubicBezTo>
                <a:cubicBezTo>
                  <a:pt x="59" y="95"/>
                  <a:pt x="59" y="95"/>
                  <a:pt x="59" y="95"/>
                </a:cubicBezTo>
                <a:cubicBezTo>
                  <a:pt x="57" y="98"/>
                  <a:pt x="55" y="102"/>
                  <a:pt x="53" y="105"/>
                </a:cubicBezTo>
                <a:cubicBezTo>
                  <a:pt x="12" y="107"/>
                  <a:pt x="12" y="107"/>
                  <a:pt x="12" y="107"/>
                </a:cubicBezTo>
                <a:cubicBezTo>
                  <a:pt x="8" y="107"/>
                  <a:pt x="6" y="110"/>
                  <a:pt x="5" y="113"/>
                </a:cubicBezTo>
                <a:cubicBezTo>
                  <a:pt x="0" y="140"/>
                  <a:pt x="0" y="140"/>
                  <a:pt x="0" y="140"/>
                </a:cubicBezTo>
                <a:cubicBezTo>
                  <a:pt x="0" y="143"/>
                  <a:pt x="1" y="147"/>
                  <a:pt x="4" y="148"/>
                </a:cubicBezTo>
                <a:cubicBezTo>
                  <a:pt x="43" y="164"/>
                  <a:pt x="43" y="164"/>
                  <a:pt x="43" y="164"/>
                </a:cubicBezTo>
                <a:cubicBezTo>
                  <a:pt x="44" y="168"/>
                  <a:pt x="44" y="172"/>
                  <a:pt x="45" y="176"/>
                </a:cubicBezTo>
                <a:cubicBezTo>
                  <a:pt x="14" y="204"/>
                  <a:pt x="14" y="204"/>
                  <a:pt x="14" y="204"/>
                </a:cubicBezTo>
                <a:cubicBezTo>
                  <a:pt x="12" y="206"/>
                  <a:pt x="11" y="210"/>
                  <a:pt x="13" y="213"/>
                </a:cubicBezTo>
                <a:cubicBezTo>
                  <a:pt x="27" y="237"/>
                  <a:pt x="27" y="237"/>
                  <a:pt x="27" y="237"/>
                </a:cubicBezTo>
                <a:cubicBezTo>
                  <a:pt x="28" y="239"/>
                  <a:pt x="32" y="241"/>
                  <a:pt x="35" y="240"/>
                </a:cubicBezTo>
                <a:cubicBezTo>
                  <a:pt x="75" y="227"/>
                  <a:pt x="75" y="227"/>
                  <a:pt x="75" y="227"/>
                </a:cubicBezTo>
                <a:cubicBezTo>
                  <a:pt x="78" y="230"/>
                  <a:pt x="81" y="233"/>
                  <a:pt x="84" y="235"/>
                </a:cubicBezTo>
                <a:cubicBezTo>
                  <a:pt x="79" y="276"/>
                  <a:pt x="79" y="276"/>
                  <a:pt x="79" y="276"/>
                </a:cubicBezTo>
                <a:cubicBezTo>
                  <a:pt x="78" y="280"/>
                  <a:pt x="80" y="283"/>
                  <a:pt x="83" y="284"/>
                </a:cubicBezTo>
                <a:cubicBezTo>
                  <a:pt x="109" y="293"/>
                  <a:pt x="109" y="293"/>
                  <a:pt x="109" y="293"/>
                </a:cubicBezTo>
                <a:cubicBezTo>
                  <a:pt x="112" y="294"/>
                  <a:pt x="116" y="293"/>
                  <a:pt x="118" y="291"/>
                </a:cubicBezTo>
                <a:cubicBezTo>
                  <a:pt x="140" y="255"/>
                  <a:pt x="140" y="255"/>
                  <a:pt x="140" y="255"/>
                </a:cubicBezTo>
                <a:cubicBezTo>
                  <a:pt x="142" y="255"/>
                  <a:pt x="144" y="256"/>
                  <a:pt x="146" y="256"/>
                </a:cubicBezTo>
                <a:cubicBezTo>
                  <a:pt x="148" y="256"/>
                  <a:pt x="150" y="255"/>
                  <a:pt x="152" y="255"/>
                </a:cubicBezTo>
                <a:cubicBezTo>
                  <a:pt x="174" y="291"/>
                  <a:pt x="174" y="291"/>
                  <a:pt x="174" y="291"/>
                </a:cubicBezTo>
                <a:cubicBezTo>
                  <a:pt x="176" y="293"/>
                  <a:pt x="180" y="294"/>
                  <a:pt x="183" y="293"/>
                </a:cubicBezTo>
                <a:cubicBezTo>
                  <a:pt x="209" y="284"/>
                  <a:pt x="209" y="284"/>
                  <a:pt x="209" y="284"/>
                </a:cubicBezTo>
                <a:cubicBezTo>
                  <a:pt x="212" y="283"/>
                  <a:pt x="214" y="280"/>
                  <a:pt x="213" y="276"/>
                </a:cubicBezTo>
                <a:cubicBezTo>
                  <a:pt x="208" y="235"/>
                  <a:pt x="208" y="235"/>
                  <a:pt x="208" y="235"/>
                </a:cubicBezTo>
                <a:cubicBezTo>
                  <a:pt x="211" y="232"/>
                  <a:pt x="214" y="230"/>
                  <a:pt x="217" y="227"/>
                </a:cubicBezTo>
                <a:cubicBezTo>
                  <a:pt x="257" y="240"/>
                  <a:pt x="257" y="240"/>
                  <a:pt x="257" y="240"/>
                </a:cubicBezTo>
                <a:cubicBezTo>
                  <a:pt x="260" y="241"/>
                  <a:pt x="264" y="239"/>
                  <a:pt x="265" y="237"/>
                </a:cubicBezTo>
                <a:cubicBezTo>
                  <a:pt x="279" y="213"/>
                  <a:pt x="279" y="213"/>
                  <a:pt x="279" y="213"/>
                </a:cubicBezTo>
                <a:cubicBezTo>
                  <a:pt x="281" y="210"/>
                  <a:pt x="280" y="206"/>
                  <a:pt x="278" y="204"/>
                </a:cubicBezTo>
                <a:cubicBezTo>
                  <a:pt x="247" y="176"/>
                  <a:pt x="247" y="176"/>
                  <a:pt x="247" y="176"/>
                </a:cubicBezTo>
                <a:cubicBezTo>
                  <a:pt x="248" y="172"/>
                  <a:pt x="248" y="168"/>
                  <a:pt x="249" y="164"/>
                </a:cubicBezTo>
                <a:cubicBezTo>
                  <a:pt x="288" y="148"/>
                  <a:pt x="288" y="148"/>
                  <a:pt x="288" y="148"/>
                </a:cubicBezTo>
                <a:cubicBezTo>
                  <a:pt x="291" y="147"/>
                  <a:pt x="292" y="144"/>
                  <a:pt x="292" y="140"/>
                </a:cubicBezTo>
                <a:close/>
                <a:moveTo>
                  <a:pt x="204" y="152"/>
                </a:moveTo>
                <a:cubicBezTo>
                  <a:pt x="204" y="168"/>
                  <a:pt x="197" y="182"/>
                  <a:pt x="187" y="193"/>
                </a:cubicBezTo>
                <a:cubicBezTo>
                  <a:pt x="176" y="203"/>
                  <a:pt x="162" y="210"/>
                  <a:pt x="146" y="210"/>
                </a:cubicBezTo>
                <a:cubicBezTo>
                  <a:pt x="130" y="210"/>
                  <a:pt x="116" y="203"/>
                  <a:pt x="105" y="193"/>
                </a:cubicBezTo>
                <a:cubicBezTo>
                  <a:pt x="95" y="182"/>
                  <a:pt x="88" y="168"/>
                  <a:pt x="88" y="152"/>
                </a:cubicBezTo>
                <a:cubicBezTo>
                  <a:pt x="88" y="136"/>
                  <a:pt x="95" y="121"/>
                  <a:pt x="105" y="111"/>
                </a:cubicBezTo>
                <a:cubicBezTo>
                  <a:pt x="116" y="100"/>
                  <a:pt x="130" y="94"/>
                  <a:pt x="146" y="94"/>
                </a:cubicBezTo>
                <a:cubicBezTo>
                  <a:pt x="162" y="94"/>
                  <a:pt x="176" y="100"/>
                  <a:pt x="187" y="111"/>
                </a:cubicBezTo>
                <a:cubicBezTo>
                  <a:pt x="197" y="121"/>
                  <a:pt x="204" y="136"/>
                  <a:pt x="204" y="15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 dirty="0">
              <a:gradFill>
                <a:gsLst>
                  <a:gs pos="0">
                    <a:schemeClr val="tx1"/>
                  </a:gs>
                  <a:gs pos="86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8" name="Freeform 88"/>
          <p:cNvSpPr>
            <a:spLocks noEditPoints="1"/>
          </p:cNvSpPr>
          <p:nvPr/>
        </p:nvSpPr>
        <p:spPr bwMode="black">
          <a:xfrm>
            <a:off x="2723597" y="2333421"/>
            <a:ext cx="394077" cy="424369"/>
          </a:xfrm>
          <a:custGeom>
            <a:avLst/>
            <a:gdLst>
              <a:gd name="T0" fmla="*/ 129 w 148"/>
              <a:gd name="T1" fmla="*/ 91 h 160"/>
              <a:gd name="T2" fmla="*/ 131 w 148"/>
              <a:gd name="T3" fmla="*/ 80 h 160"/>
              <a:gd name="T4" fmla="*/ 129 w 148"/>
              <a:gd name="T5" fmla="*/ 70 h 160"/>
              <a:gd name="T6" fmla="*/ 145 w 148"/>
              <a:gd name="T7" fmla="*/ 55 h 160"/>
              <a:gd name="T8" fmla="*/ 147 w 148"/>
              <a:gd name="T9" fmla="*/ 50 h 160"/>
              <a:gd name="T10" fmla="*/ 147 w 148"/>
              <a:gd name="T11" fmla="*/ 46 h 160"/>
              <a:gd name="T12" fmla="*/ 140 w 148"/>
              <a:gd name="T13" fmla="*/ 34 h 160"/>
              <a:gd name="T14" fmla="*/ 133 w 148"/>
              <a:gd name="T15" fmla="*/ 31 h 160"/>
              <a:gd name="T16" fmla="*/ 131 w 148"/>
              <a:gd name="T17" fmla="*/ 31 h 160"/>
              <a:gd name="T18" fmla="*/ 111 w 148"/>
              <a:gd name="T19" fmla="*/ 37 h 160"/>
              <a:gd name="T20" fmla="*/ 92 w 148"/>
              <a:gd name="T21" fmla="*/ 27 h 160"/>
              <a:gd name="T22" fmla="*/ 88 w 148"/>
              <a:gd name="T23" fmla="*/ 6 h 160"/>
              <a:gd name="T24" fmla="*/ 81 w 148"/>
              <a:gd name="T25" fmla="*/ 0 h 160"/>
              <a:gd name="T26" fmla="*/ 67 w 148"/>
              <a:gd name="T27" fmla="*/ 0 h 160"/>
              <a:gd name="T28" fmla="*/ 60 w 148"/>
              <a:gd name="T29" fmla="*/ 6 h 160"/>
              <a:gd name="T30" fmla="*/ 55 w 148"/>
              <a:gd name="T31" fmla="*/ 27 h 160"/>
              <a:gd name="T32" fmla="*/ 37 w 148"/>
              <a:gd name="T33" fmla="*/ 38 h 160"/>
              <a:gd name="T34" fmla="*/ 16 w 148"/>
              <a:gd name="T35" fmla="*/ 31 h 160"/>
              <a:gd name="T36" fmla="*/ 14 w 148"/>
              <a:gd name="T37" fmla="*/ 31 h 160"/>
              <a:gd name="T38" fmla="*/ 8 w 148"/>
              <a:gd name="T39" fmla="*/ 34 h 160"/>
              <a:gd name="T40" fmla="*/ 1 w 148"/>
              <a:gd name="T41" fmla="*/ 46 h 160"/>
              <a:gd name="T42" fmla="*/ 0 w 148"/>
              <a:gd name="T43" fmla="*/ 50 h 160"/>
              <a:gd name="T44" fmla="*/ 2 w 148"/>
              <a:gd name="T45" fmla="*/ 55 h 160"/>
              <a:gd name="T46" fmla="*/ 19 w 148"/>
              <a:gd name="T47" fmla="*/ 70 h 160"/>
              <a:gd name="T48" fmla="*/ 17 w 148"/>
              <a:gd name="T49" fmla="*/ 80 h 160"/>
              <a:gd name="T50" fmla="*/ 19 w 148"/>
              <a:gd name="T51" fmla="*/ 91 h 160"/>
              <a:gd name="T52" fmla="*/ 2 w 148"/>
              <a:gd name="T53" fmla="*/ 106 h 160"/>
              <a:gd name="T54" fmla="*/ 0 w 148"/>
              <a:gd name="T55" fmla="*/ 111 h 160"/>
              <a:gd name="T56" fmla="*/ 1 w 148"/>
              <a:gd name="T57" fmla="*/ 114 h 160"/>
              <a:gd name="T58" fmla="*/ 8 w 148"/>
              <a:gd name="T59" fmla="*/ 126 h 160"/>
              <a:gd name="T60" fmla="*/ 14 w 148"/>
              <a:gd name="T61" fmla="*/ 130 h 160"/>
              <a:gd name="T62" fmla="*/ 16 w 148"/>
              <a:gd name="T63" fmla="*/ 130 h 160"/>
              <a:gd name="T64" fmla="*/ 37 w 148"/>
              <a:gd name="T65" fmla="*/ 123 h 160"/>
              <a:gd name="T66" fmla="*/ 55 w 148"/>
              <a:gd name="T67" fmla="*/ 133 h 160"/>
              <a:gd name="T68" fmla="*/ 60 w 148"/>
              <a:gd name="T69" fmla="*/ 155 h 160"/>
              <a:gd name="T70" fmla="*/ 67 w 148"/>
              <a:gd name="T71" fmla="*/ 160 h 160"/>
              <a:gd name="T72" fmla="*/ 81 w 148"/>
              <a:gd name="T73" fmla="*/ 160 h 160"/>
              <a:gd name="T74" fmla="*/ 88 w 148"/>
              <a:gd name="T75" fmla="*/ 155 h 160"/>
              <a:gd name="T76" fmla="*/ 92 w 148"/>
              <a:gd name="T77" fmla="*/ 134 h 160"/>
              <a:gd name="T78" fmla="*/ 111 w 148"/>
              <a:gd name="T79" fmla="*/ 123 h 160"/>
              <a:gd name="T80" fmla="*/ 131 w 148"/>
              <a:gd name="T81" fmla="*/ 130 h 160"/>
              <a:gd name="T82" fmla="*/ 133 w 148"/>
              <a:gd name="T83" fmla="*/ 130 h 160"/>
              <a:gd name="T84" fmla="*/ 140 w 148"/>
              <a:gd name="T85" fmla="*/ 126 h 160"/>
              <a:gd name="T86" fmla="*/ 147 w 148"/>
              <a:gd name="T87" fmla="*/ 114 h 160"/>
              <a:gd name="T88" fmla="*/ 147 w 148"/>
              <a:gd name="T89" fmla="*/ 111 h 160"/>
              <a:gd name="T90" fmla="*/ 145 w 148"/>
              <a:gd name="T91" fmla="*/ 106 h 160"/>
              <a:gd name="T92" fmla="*/ 129 w 148"/>
              <a:gd name="T93" fmla="*/ 91 h 160"/>
              <a:gd name="T94" fmla="*/ 96 w 148"/>
              <a:gd name="T95" fmla="*/ 80 h 160"/>
              <a:gd name="T96" fmla="*/ 74 w 148"/>
              <a:gd name="T97" fmla="*/ 102 h 160"/>
              <a:gd name="T98" fmla="*/ 52 w 148"/>
              <a:gd name="T99" fmla="*/ 80 h 160"/>
              <a:gd name="T100" fmla="*/ 74 w 148"/>
              <a:gd name="T101" fmla="*/ 58 h 160"/>
              <a:gd name="T102" fmla="*/ 96 w 148"/>
              <a:gd name="T103" fmla="*/ 8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8" h="160">
                <a:moveTo>
                  <a:pt x="129" y="91"/>
                </a:moveTo>
                <a:cubicBezTo>
                  <a:pt x="130" y="88"/>
                  <a:pt x="131" y="84"/>
                  <a:pt x="131" y="80"/>
                </a:cubicBezTo>
                <a:cubicBezTo>
                  <a:pt x="131" y="77"/>
                  <a:pt x="130" y="73"/>
                  <a:pt x="129" y="70"/>
                </a:cubicBezTo>
                <a:cubicBezTo>
                  <a:pt x="145" y="55"/>
                  <a:pt x="145" y="55"/>
                  <a:pt x="145" y="55"/>
                </a:cubicBezTo>
                <a:cubicBezTo>
                  <a:pt x="147" y="54"/>
                  <a:pt x="147" y="52"/>
                  <a:pt x="147" y="50"/>
                </a:cubicBezTo>
                <a:cubicBezTo>
                  <a:pt x="147" y="49"/>
                  <a:pt x="147" y="47"/>
                  <a:pt x="147" y="46"/>
                </a:cubicBezTo>
                <a:cubicBezTo>
                  <a:pt x="140" y="34"/>
                  <a:pt x="140" y="34"/>
                  <a:pt x="140" y="34"/>
                </a:cubicBezTo>
                <a:cubicBezTo>
                  <a:pt x="138" y="32"/>
                  <a:pt x="136" y="31"/>
                  <a:pt x="133" y="31"/>
                </a:cubicBezTo>
                <a:cubicBezTo>
                  <a:pt x="133" y="31"/>
                  <a:pt x="132" y="31"/>
                  <a:pt x="131" y="31"/>
                </a:cubicBezTo>
                <a:cubicBezTo>
                  <a:pt x="111" y="37"/>
                  <a:pt x="111" y="37"/>
                  <a:pt x="111" y="37"/>
                </a:cubicBezTo>
                <a:cubicBezTo>
                  <a:pt x="105" y="33"/>
                  <a:pt x="99" y="29"/>
                  <a:pt x="92" y="27"/>
                </a:cubicBezTo>
                <a:cubicBezTo>
                  <a:pt x="88" y="6"/>
                  <a:pt x="88" y="6"/>
                  <a:pt x="88" y="6"/>
                </a:cubicBezTo>
                <a:cubicBezTo>
                  <a:pt x="87" y="3"/>
                  <a:pt x="84" y="0"/>
                  <a:pt x="81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3" y="0"/>
                  <a:pt x="61" y="3"/>
                  <a:pt x="60" y="6"/>
                </a:cubicBezTo>
                <a:cubicBezTo>
                  <a:pt x="55" y="27"/>
                  <a:pt x="55" y="27"/>
                  <a:pt x="55" y="27"/>
                </a:cubicBezTo>
                <a:cubicBezTo>
                  <a:pt x="48" y="29"/>
                  <a:pt x="42" y="33"/>
                  <a:pt x="37" y="38"/>
                </a:cubicBezTo>
                <a:cubicBezTo>
                  <a:pt x="16" y="31"/>
                  <a:pt x="16" y="31"/>
                  <a:pt x="16" y="31"/>
                </a:cubicBezTo>
                <a:cubicBezTo>
                  <a:pt x="15" y="31"/>
                  <a:pt x="15" y="31"/>
                  <a:pt x="14" y="31"/>
                </a:cubicBezTo>
                <a:cubicBezTo>
                  <a:pt x="12" y="31"/>
                  <a:pt x="9" y="32"/>
                  <a:pt x="8" y="34"/>
                </a:cubicBezTo>
                <a:cubicBezTo>
                  <a:pt x="1" y="46"/>
                  <a:pt x="1" y="46"/>
                  <a:pt x="1" y="46"/>
                </a:cubicBezTo>
                <a:cubicBezTo>
                  <a:pt x="0" y="47"/>
                  <a:pt x="0" y="49"/>
                  <a:pt x="0" y="50"/>
                </a:cubicBezTo>
                <a:cubicBezTo>
                  <a:pt x="0" y="52"/>
                  <a:pt x="1" y="54"/>
                  <a:pt x="2" y="55"/>
                </a:cubicBezTo>
                <a:cubicBezTo>
                  <a:pt x="19" y="70"/>
                  <a:pt x="19" y="70"/>
                  <a:pt x="19" y="70"/>
                </a:cubicBezTo>
                <a:cubicBezTo>
                  <a:pt x="18" y="73"/>
                  <a:pt x="17" y="77"/>
                  <a:pt x="17" y="80"/>
                </a:cubicBezTo>
                <a:cubicBezTo>
                  <a:pt x="17" y="84"/>
                  <a:pt x="18" y="87"/>
                  <a:pt x="19" y="91"/>
                </a:cubicBezTo>
                <a:cubicBezTo>
                  <a:pt x="2" y="106"/>
                  <a:pt x="2" y="106"/>
                  <a:pt x="2" y="106"/>
                </a:cubicBezTo>
                <a:cubicBezTo>
                  <a:pt x="1" y="107"/>
                  <a:pt x="0" y="109"/>
                  <a:pt x="0" y="111"/>
                </a:cubicBezTo>
                <a:cubicBezTo>
                  <a:pt x="0" y="112"/>
                  <a:pt x="0" y="113"/>
                  <a:pt x="1" y="114"/>
                </a:cubicBezTo>
                <a:cubicBezTo>
                  <a:pt x="8" y="126"/>
                  <a:pt x="8" y="126"/>
                  <a:pt x="8" y="126"/>
                </a:cubicBezTo>
                <a:cubicBezTo>
                  <a:pt x="9" y="129"/>
                  <a:pt x="12" y="130"/>
                  <a:pt x="14" y="130"/>
                </a:cubicBezTo>
                <a:cubicBezTo>
                  <a:pt x="15" y="130"/>
                  <a:pt x="15" y="130"/>
                  <a:pt x="16" y="130"/>
                </a:cubicBezTo>
                <a:cubicBezTo>
                  <a:pt x="37" y="123"/>
                  <a:pt x="37" y="123"/>
                  <a:pt x="37" y="123"/>
                </a:cubicBezTo>
                <a:cubicBezTo>
                  <a:pt x="42" y="127"/>
                  <a:pt x="48" y="131"/>
                  <a:pt x="55" y="133"/>
                </a:cubicBezTo>
                <a:cubicBezTo>
                  <a:pt x="60" y="155"/>
                  <a:pt x="60" y="155"/>
                  <a:pt x="60" y="155"/>
                </a:cubicBezTo>
                <a:cubicBezTo>
                  <a:pt x="61" y="158"/>
                  <a:pt x="63" y="160"/>
                  <a:pt x="67" y="160"/>
                </a:cubicBezTo>
                <a:cubicBezTo>
                  <a:pt x="81" y="160"/>
                  <a:pt x="81" y="160"/>
                  <a:pt x="81" y="160"/>
                </a:cubicBezTo>
                <a:cubicBezTo>
                  <a:pt x="84" y="160"/>
                  <a:pt x="87" y="158"/>
                  <a:pt x="88" y="155"/>
                </a:cubicBezTo>
                <a:cubicBezTo>
                  <a:pt x="92" y="134"/>
                  <a:pt x="92" y="134"/>
                  <a:pt x="92" y="134"/>
                </a:cubicBezTo>
                <a:cubicBezTo>
                  <a:pt x="99" y="131"/>
                  <a:pt x="105" y="128"/>
                  <a:pt x="111" y="123"/>
                </a:cubicBezTo>
                <a:cubicBezTo>
                  <a:pt x="131" y="130"/>
                  <a:pt x="131" y="130"/>
                  <a:pt x="131" y="130"/>
                </a:cubicBezTo>
                <a:cubicBezTo>
                  <a:pt x="132" y="130"/>
                  <a:pt x="133" y="130"/>
                  <a:pt x="133" y="130"/>
                </a:cubicBezTo>
                <a:cubicBezTo>
                  <a:pt x="136" y="130"/>
                  <a:pt x="138" y="129"/>
                  <a:pt x="140" y="126"/>
                </a:cubicBezTo>
                <a:cubicBezTo>
                  <a:pt x="147" y="114"/>
                  <a:pt x="147" y="114"/>
                  <a:pt x="147" y="114"/>
                </a:cubicBezTo>
                <a:cubicBezTo>
                  <a:pt x="147" y="113"/>
                  <a:pt x="148" y="112"/>
                  <a:pt x="147" y="111"/>
                </a:cubicBezTo>
                <a:cubicBezTo>
                  <a:pt x="148" y="109"/>
                  <a:pt x="147" y="107"/>
                  <a:pt x="145" y="106"/>
                </a:cubicBezTo>
                <a:lnTo>
                  <a:pt x="129" y="91"/>
                </a:lnTo>
                <a:close/>
                <a:moveTo>
                  <a:pt x="96" y="80"/>
                </a:moveTo>
                <a:cubicBezTo>
                  <a:pt x="96" y="92"/>
                  <a:pt x="86" y="102"/>
                  <a:pt x="74" y="102"/>
                </a:cubicBezTo>
                <a:cubicBezTo>
                  <a:pt x="62" y="102"/>
                  <a:pt x="52" y="92"/>
                  <a:pt x="52" y="80"/>
                </a:cubicBezTo>
                <a:cubicBezTo>
                  <a:pt x="52" y="68"/>
                  <a:pt x="62" y="58"/>
                  <a:pt x="74" y="58"/>
                </a:cubicBezTo>
                <a:cubicBezTo>
                  <a:pt x="86" y="58"/>
                  <a:pt x="96" y="68"/>
                  <a:pt x="96" y="8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 dirty="0">
              <a:gradFill>
                <a:gsLst>
                  <a:gs pos="0">
                    <a:schemeClr val="tx1"/>
                  </a:gs>
                  <a:gs pos="86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29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9808" y="2214249"/>
            <a:ext cx="1140626" cy="914400"/>
          </a:xfrm>
          <a:prstGeom prst="rect">
            <a:avLst/>
          </a:prstGeom>
        </p:spPr>
      </p:pic>
      <p:sp>
        <p:nvSpPr>
          <p:cNvPr id="30" name="圆角矩形 29"/>
          <p:cNvSpPr/>
          <p:nvPr/>
        </p:nvSpPr>
        <p:spPr>
          <a:xfrm>
            <a:off x="1446664" y="4681278"/>
            <a:ext cx="2293821" cy="429697"/>
          </a:xfrm>
          <a:prstGeom prst="roundRect">
            <a:avLst/>
          </a:prstGeom>
          <a:solidFill>
            <a:srgbClr val="529DD7"/>
          </a:solidFill>
          <a:ln>
            <a:solidFill>
              <a:srgbClr val="3B87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标题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圆角矩形 30"/>
          <p:cNvSpPr/>
          <p:nvPr/>
        </p:nvSpPr>
        <p:spPr>
          <a:xfrm>
            <a:off x="5165179" y="4681278"/>
            <a:ext cx="2293821" cy="429697"/>
          </a:xfrm>
          <a:prstGeom prst="roundRect">
            <a:avLst/>
          </a:prstGeom>
          <a:solidFill>
            <a:srgbClr val="E9C38B"/>
          </a:solidFill>
          <a:ln w="19050">
            <a:solidFill>
              <a:srgbClr val="E9C38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标题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圆角矩形 31"/>
          <p:cNvSpPr/>
          <p:nvPr/>
        </p:nvSpPr>
        <p:spPr>
          <a:xfrm>
            <a:off x="8883694" y="4681278"/>
            <a:ext cx="2293821" cy="429697"/>
          </a:xfrm>
          <a:prstGeom prst="roundRect">
            <a:avLst/>
          </a:prstGeom>
          <a:solidFill>
            <a:srgbClr val="529D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下标题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992731" y="5422940"/>
            <a:ext cx="32016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34" name="文本框 33"/>
          <p:cNvSpPr txBox="1"/>
          <p:nvPr/>
        </p:nvSpPr>
        <p:spPr>
          <a:xfrm>
            <a:off x="4669572" y="5422940"/>
            <a:ext cx="32016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35" name="文本框 34"/>
          <p:cNvSpPr txBox="1"/>
          <p:nvPr/>
        </p:nvSpPr>
        <p:spPr>
          <a:xfrm>
            <a:off x="8346413" y="5422940"/>
            <a:ext cx="32016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482249" y="457200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15144042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椭圆 1"/>
          <p:cNvSpPr/>
          <p:nvPr/>
        </p:nvSpPr>
        <p:spPr>
          <a:xfrm>
            <a:off x="3958635" y="1623354"/>
            <a:ext cx="3980383" cy="3980383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任意多边形 2"/>
          <p:cNvSpPr/>
          <p:nvPr/>
        </p:nvSpPr>
        <p:spPr>
          <a:xfrm flipH="1">
            <a:off x="3958634" y="1623354"/>
            <a:ext cx="1990192" cy="3980384"/>
          </a:xfrm>
          <a:custGeom>
            <a:avLst/>
            <a:gdLst>
              <a:gd name="connsiteX0" fmla="*/ 0 w 1629911"/>
              <a:gd name="connsiteY0" fmla="*/ 0 h 3259822"/>
              <a:gd name="connsiteX1" fmla="*/ 1629911 w 1629911"/>
              <a:gd name="connsiteY1" fmla="*/ 1629911 h 3259822"/>
              <a:gd name="connsiteX2" fmla="*/ 0 w 1629911"/>
              <a:gd name="connsiteY2" fmla="*/ 3259822 h 3259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9911" h="3259822">
                <a:moveTo>
                  <a:pt x="0" y="0"/>
                </a:moveTo>
                <a:cubicBezTo>
                  <a:pt x="900175" y="0"/>
                  <a:pt x="1629911" y="729736"/>
                  <a:pt x="1629911" y="1629911"/>
                </a:cubicBezTo>
                <a:cubicBezTo>
                  <a:pt x="1629911" y="2530086"/>
                  <a:pt x="900175" y="3259822"/>
                  <a:pt x="0" y="3259822"/>
                </a:cubicBez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椭圆 3"/>
          <p:cNvSpPr/>
          <p:nvPr/>
        </p:nvSpPr>
        <p:spPr>
          <a:xfrm>
            <a:off x="2394528" y="1973179"/>
            <a:ext cx="1042737" cy="1042737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5EC2A6"/>
              </a:solidFill>
            </a:endParaRPr>
          </a:p>
        </p:txBody>
      </p:sp>
      <p:sp>
        <p:nvSpPr>
          <p:cNvPr id="5" name="椭圆 4"/>
          <p:cNvSpPr/>
          <p:nvPr/>
        </p:nvSpPr>
        <p:spPr>
          <a:xfrm>
            <a:off x="2148854" y="4315326"/>
            <a:ext cx="1288411" cy="1288411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7914685" y="1445277"/>
            <a:ext cx="675832" cy="675832"/>
          </a:xfrm>
          <a:prstGeom prst="ellipse">
            <a:avLst/>
          </a:prstGeom>
          <a:solidFill>
            <a:srgbClr val="519CD6"/>
          </a:solidFill>
          <a:ln>
            <a:solidFill>
              <a:srgbClr val="519C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4" name="直接连接符 13"/>
          <p:cNvCxnSpPr/>
          <p:nvPr/>
        </p:nvCxnSpPr>
        <p:spPr>
          <a:xfrm>
            <a:off x="514946" y="2502568"/>
            <a:ext cx="1879582" cy="0"/>
          </a:xfrm>
          <a:prstGeom prst="line">
            <a:avLst/>
          </a:prstGeom>
          <a:ln>
            <a:solidFill>
              <a:srgbClr val="519C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>
            <a:off x="269272" y="4943488"/>
            <a:ext cx="1879582" cy="0"/>
          </a:xfrm>
          <a:prstGeom prst="line">
            <a:avLst/>
          </a:prstGeom>
          <a:ln>
            <a:solidFill>
              <a:srgbClr val="E8B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>
            <a:off x="8590517" y="1783193"/>
            <a:ext cx="1879582" cy="0"/>
          </a:xfrm>
          <a:prstGeom prst="line">
            <a:avLst/>
          </a:prstGeom>
          <a:ln>
            <a:solidFill>
              <a:srgbClr val="519C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>
            <a:off x="9619045" y="3526986"/>
            <a:ext cx="1879582" cy="0"/>
          </a:xfrm>
          <a:prstGeom prst="line">
            <a:avLst/>
          </a:prstGeom>
          <a:ln>
            <a:solidFill>
              <a:srgbClr val="E8B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>
            <a:off x="8966142" y="5408709"/>
            <a:ext cx="1879582" cy="0"/>
          </a:xfrm>
          <a:prstGeom prst="line">
            <a:avLst/>
          </a:prstGeom>
          <a:ln>
            <a:solidFill>
              <a:srgbClr val="519C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/>
          <p:cNvSpPr txBox="1"/>
          <p:nvPr/>
        </p:nvSpPr>
        <p:spPr>
          <a:xfrm>
            <a:off x="9697422" y="1234132"/>
            <a:ext cx="12695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dirty="0" smtClean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12%</a:t>
            </a:r>
            <a:endParaRPr lang="zh-CN" altLang="en-US" sz="3200" dirty="0">
              <a:solidFill>
                <a:srgbClr val="519CD6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10535842" y="2773196"/>
            <a:ext cx="15412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400" dirty="0" smtClean="0">
                <a:solidFill>
                  <a:srgbClr val="E8B161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23%</a:t>
            </a:r>
            <a:endParaRPr lang="zh-CN" altLang="en-US" sz="4400" dirty="0">
              <a:solidFill>
                <a:srgbClr val="E8B161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210060" y="4222181"/>
            <a:ext cx="15573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dirty="0" smtClean="0">
                <a:solidFill>
                  <a:srgbClr val="E8B161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28%</a:t>
            </a:r>
            <a:endParaRPr lang="zh-CN" altLang="en-US" sz="4800" dirty="0">
              <a:solidFill>
                <a:srgbClr val="E8B161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420245" y="1866037"/>
            <a:ext cx="133869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dirty="0" smtClean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21%</a:t>
            </a:r>
            <a:endParaRPr lang="zh-CN" altLang="en-US" sz="4000" dirty="0">
              <a:solidFill>
                <a:srgbClr val="519CD6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10023574" y="4746728"/>
            <a:ext cx="13386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dirty="0" smtClean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16%</a:t>
            </a:r>
            <a:endParaRPr lang="zh-CN" altLang="en-US" sz="3600" dirty="0">
              <a:solidFill>
                <a:srgbClr val="519CD6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34" name="右箭头 33"/>
          <p:cNvSpPr/>
          <p:nvPr/>
        </p:nvSpPr>
        <p:spPr>
          <a:xfrm rot="19231963">
            <a:off x="7558784" y="1926526"/>
            <a:ext cx="365760" cy="389167"/>
          </a:xfrm>
          <a:prstGeom prst="rightArrow">
            <a:avLst/>
          </a:prstGeom>
          <a:solidFill>
            <a:srgbClr val="918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右箭头 34"/>
          <p:cNvSpPr/>
          <p:nvPr/>
        </p:nvSpPr>
        <p:spPr>
          <a:xfrm>
            <a:off x="8074040" y="3347339"/>
            <a:ext cx="365760" cy="389167"/>
          </a:xfrm>
          <a:prstGeom prst="rightArrow">
            <a:avLst/>
          </a:prstGeom>
          <a:solidFill>
            <a:srgbClr val="918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右箭头 35"/>
          <p:cNvSpPr/>
          <p:nvPr/>
        </p:nvSpPr>
        <p:spPr>
          <a:xfrm rot="2368497">
            <a:off x="7664046" y="4858594"/>
            <a:ext cx="365760" cy="389167"/>
          </a:xfrm>
          <a:prstGeom prst="rightArrow">
            <a:avLst/>
          </a:prstGeom>
          <a:solidFill>
            <a:srgbClr val="918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椭圆 6"/>
          <p:cNvSpPr/>
          <p:nvPr/>
        </p:nvSpPr>
        <p:spPr>
          <a:xfrm>
            <a:off x="8640750" y="2955216"/>
            <a:ext cx="1150778" cy="1150778"/>
          </a:xfrm>
          <a:prstGeom prst="ellipse">
            <a:avLst/>
          </a:pr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椭圆 7"/>
          <p:cNvSpPr/>
          <p:nvPr/>
        </p:nvSpPr>
        <p:spPr>
          <a:xfrm>
            <a:off x="8074040" y="4959531"/>
            <a:ext cx="892102" cy="892102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右箭头 36"/>
          <p:cNvSpPr/>
          <p:nvPr/>
        </p:nvSpPr>
        <p:spPr>
          <a:xfrm rot="11932469">
            <a:off x="3580135" y="2606299"/>
            <a:ext cx="365760" cy="389167"/>
          </a:xfrm>
          <a:prstGeom prst="rightArrow">
            <a:avLst/>
          </a:prstGeom>
          <a:solidFill>
            <a:srgbClr val="918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右箭头 37"/>
          <p:cNvSpPr/>
          <p:nvPr/>
        </p:nvSpPr>
        <p:spPr>
          <a:xfrm rot="9061604">
            <a:off x="3635806" y="4443097"/>
            <a:ext cx="365760" cy="389167"/>
          </a:xfrm>
          <a:prstGeom prst="rightArrow">
            <a:avLst/>
          </a:prstGeom>
          <a:solidFill>
            <a:srgbClr val="918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0" name="Picture 2" descr="\\MAGNUM\Projects\Microsoft\Cloud Power FY12\Design\ICONS_PNG\Tower.png"/>
          <p:cNvPicPr>
            <a:picLocks noChangeAspect="1" noChangeArrowheads="1"/>
          </p:cNvPicPr>
          <p:nvPr/>
        </p:nvPicPr>
        <p:blipFill rotWithShape="1">
          <a:blip r:embed="rId2" cstate="print">
            <a:lum bright="100000" contrast="100000"/>
          </a:blip>
          <a:srcRect t="22057" b="22140"/>
          <a:stretch/>
        </p:blipFill>
        <p:spPr bwMode="auto">
          <a:xfrm>
            <a:off x="4462361" y="2739023"/>
            <a:ext cx="3040443" cy="1696237"/>
          </a:xfrm>
          <a:prstGeom prst="rect">
            <a:avLst/>
          </a:prstGeom>
          <a:noFill/>
        </p:spPr>
      </p:pic>
      <p:pic>
        <p:nvPicPr>
          <p:cNvPr id="28" name="Picture 4" descr="C:\Users\Jonahs\Dropbox\Projects SCOTT\MEET Windows Azure\source\Background\tile-icon-cach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4473" y="2174298"/>
            <a:ext cx="638782" cy="638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24831" y="5125913"/>
            <a:ext cx="589240" cy="589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Freeform 18"/>
          <p:cNvSpPr>
            <a:spLocks noEditPoints="1"/>
          </p:cNvSpPr>
          <p:nvPr/>
        </p:nvSpPr>
        <p:spPr bwMode="black">
          <a:xfrm>
            <a:off x="8956418" y="3172011"/>
            <a:ext cx="573890" cy="700140"/>
          </a:xfrm>
          <a:custGeom>
            <a:avLst/>
            <a:gdLst>
              <a:gd name="T0" fmla="*/ 129 w 246"/>
              <a:gd name="T1" fmla="*/ 192 h 300"/>
              <a:gd name="T2" fmla="*/ 43 w 246"/>
              <a:gd name="T3" fmla="*/ 202 h 300"/>
              <a:gd name="T4" fmla="*/ 129 w 246"/>
              <a:gd name="T5" fmla="*/ 126 h 300"/>
              <a:gd name="T6" fmla="*/ 43 w 246"/>
              <a:gd name="T7" fmla="*/ 135 h 300"/>
              <a:gd name="T8" fmla="*/ 129 w 246"/>
              <a:gd name="T9" fmla="*/ 126 h 300"/>
              <a:gd name="T10" fmla="*/ 215 w 246"/>
              <a:gd name="T11" fmla="*/ 101 h 300"/>
              <a:gd name="T12" fmla="*/ 219 w 246"/>
              <a:gd name="T13" fmla="*/ 90 h 300"/>
              <a:gd name="T14" fmla="*/ 208 w 246"/>
              <a:gd name="T15" fmla="*/ 111 h 300"/>
              <a:gd name="T16" fmla="*/ 43 w 246"/>
              <a:gd name="T17" fmla="*/ 92 h 300"/>
              <a:gd name="T18" fmla="*/ 117 w 246"/>
              <a:gd name="T19" fmla="*/ 102 h 300"/>
              <a:gd name="T20" fmla="*/ 43 w 246"/>
              <a:gd name="T21" fmla="*/ 235 h 300"/>
              <a:gd name="T22" fmla="*/ 117 w 246"/>
              <a:gd name="T23" fmla="*/ 226 h 300"/>
              <a:gd name="T24" fmla="*/ 43 w 246"/>
              <a:gd name="T25" fmla="*/ 235 h 300"/>
              <a:gd name="T26" fmla="*/ 11 w 246"/>
              <a:gd name="T27" fmla="*/ 287 h 300"/>
              <a:gd name="T28" fmla="*/ 35 w 246"/>
              <a:gd name="T29" fmla="*/ 36 h 300"/>
              <a:gd name="T30" fmla="*/ 0 w 246"/>
              <a:gd name="T31" fmla="*/ 22 h 300"/>
              <a:gd name="T32" fmla="*/ 219 w 246"/>
              <a:gd name="T33" fmla="*/ 300 h 300"/>
              <a:gd name="T34" fmla="*/ 208 w 246"/>
              <a:gd name="T35" fmla="*/ 173 h 300"/>
              <a:gd name="T36" fmla="*/ 117 w 246"/>
              <a:gd name="T37" fmla="*/ 159 h 300"/>
              <a:gd name="T38" fmla="*/ 43 w 246"/>
              <a:gd name="T39" fmla="*/ 169 h 300"/>
              <a:gd name="T40" fmla="*/ 117 w 246"/>
              <a:gd name="T41" fmla="*/ 159 h 300"/>
              <a:gd name="T42" fmla="*/ 57 w 246"/>
              <a:gd name="T43" fmla="*/ 22 h 300"/>
              <a:gd name="T44" fmla="*/ 86 w 246"/>
              <a:gd name="T45" fmla="*/ 20 h 300"/>
              <a:gd name="T46" fmla="*/ 110 w 246"/>
              <a:gd name="T47" fmla="*/ 0 h 300"/>
              <a:gd name="T48" fmla="*/ 133 w 246"/>
              <a:gd name="T49" fmla="*/ 20 h 300"/>
              <a:gd name="T50" fmla="*/ 162 w 246"/>
              <a:gd name="T51" fmla="*/ 22 h 300"/>
              <a:gd name="T52" fmla="*/ 179 w 246"/>
              <a:gd name="T53" fmla="*/ 43 h 300"/>
              <a:gd name="T54" fmla="*/ 41 w 246"/>
              <a:gd name="T55" fmla="*/ 36 h 300"/>
              <a:gd name="T56" fmla="*/ 110 w 246"/>
              <a:gd name="T57" fmla="*/ 20 h 300"/>
              <a:gd name="T58" fmla="*/ 110 w 246"/>
              <a:gd name="T59" fmla="*/ 11 h 300"/>
              <a:gd name="T60" fmla="*/ 190 w 246"/>
              <a:gd name="T61" fmla="*/ 269 h 300"/>
              <a:gd name="T62" fmla="*/ 29 w 246"/>
              <a:gd name="T63" fmla="*/ 59 h 300"/>
              <a:gd name="T64" fmla="*/ 190 w 246"/>
              <a:gd name="T65" fmla="*/ 71 h 300"/>
              <a:gd name="T66" fmla="*/ 200 w 246"/>
              <a:gd name="T67" fmla="*/ 49 h 300"/>
              <a:gd name="T68" fmla="*/ 19 w 246"/>
              <a:gd name="T69" fmla="*/ 278 h 300"/>
              <a:gd name="T70" fmla="*/ 200 w 246"/>
              <a:gd name="T71" fmla="*/ 185 h 300"/>
              <a:gd name="T72" fmla="*/ 190 w 246"/>
              <a:gd name="T73" fmla="*/ 269 h 300"/>
              <a:gd name="T74" fmla="*/ 190 w 246"/>
              <a:gd name="T75" fmla="*/ 133 h 300"/>
              <a:gd name="T76" fmla="*/ 200 w 246"/>
              <a:gd name="T77" fmla="*/ 124 h 300"/>
              <a:gd name="T78" fmla="*/ 215 w 246"/>
              <a:gd name="T79" fmla="*/ 35 h 300"/>
              <a:gd name="T80" fmla="*/ 219 w 246"/>
              <a:gd name="T81" fmla="*/ 22 h 300"/>
              <a:gd name="T82" fmla="*/ 184 w 246"/>
              <a:gd name="T83" fmla="*/ 36 h 300"/>
              <a:gd name="T84" fmla="*/ 208 w 246"/>
              <a:gd name="T85" fmla="*/ 44 h 300"/>
              <a:gd name="T86" fmla="*/ 246 w 246"/>
              <a:gd name="T87" fmla="*/ 41 h 300"/>
              <a:gd name="T88" fmla="*/ 155 w 246"/>
              <a:gd name="T89" fmla="*/ 134 h 300"/>
              <a:gd name="T90" fmla="*/ 156 w 246"/>
              <a:gd name="T91" fmla="*/ 92 h 300"/>
              <a:gd name="T92" fmla="*/ 218 w 246"/>
              <a:gd name="T93" fmla="*/ 41 h 300"/>
              <a:gd name="T94" fmla="*/ 246 w 246"/>
              <a:gd name="T95" fmla="*/ 107 h 300"/>
              <a:gd name="T96" fmla="*/ 155 w 246"/>
              <a:gd name="T97" fmla="*/ 201 h 300"/>
              <a:gd name="T98" fmla="*/ 156 w 246"/>
              <a:gd name="T99" fmla="*/ 159 h 300"/>
              <a:gd name="T100" fmla="*/ 218 w 246"/>
              <a:gd name="T101" fmla="*/ 10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46" h="300">
                <a:moveTo>
                  <a:pt x="43" y="192"/>
                </a:moveTo>
                <a:cubicBezTo>
                  <a:pt x="129" y="192"/>
                  <a:pt x="129" y="192"/>
                  <a:pt x="129" y="192"/>
                </a:cubicBezTo>
                <a:cubicBezTo>
                  <a:pt x="129" y="202"/>
                  <a:pt x="129" y="202"/>
                  <a:pt x="129" y="202"/>
                </a:cubicBezTo>
                <a:cubicBezTo>
                  <a:pt x="43" y="202"/>
                  <a:pt x="43" y="202"/>
                  <a:pt x="43" y="202"/>
                </a:cubicBezTo>
                <a:lnTo>
                  <a:pt x="43" y="192"/>
                </a:lnTo>
                <a:close/>
                <a:moveTo>
                  <a:pt x="129" y="126"/>
                </a:moveTo>
                <a:cubicBezTo>
                  <a:pt x="43" y="126"/>
                  <a:pt x="43" y="126"/>
                  <a:pt x="43" y="126"/>
                </a:cubicBezTo>
                <a:cubicBezTo>
                  <a:pt x="43" y="135"/>
                  <a:pt x="43" y="135"/>
                  <a:pt x="43" y="135"/>
                </a:cubicBezTo>
                <a:cubicBezTo>
                  <a:pt x="129" y="135"/>
                  <a:pt x="129" y="135"/>
                  <a:pt x="129" y="135"/>
                </a:cubicBezTo>
                <a:lnTo>
                  <a:pt x="129" y="126"/>
                </a:lnTo>
                <a:close/>
                <a:moveTo>
                  <a:pt x="208" y="111"/>
                </a:moveTo>
                <a:cubicBezTo>
                  <a:pt x="215" y="101"/>
                  <a:pt x="215" y="101"/>
                  <a:pt x="215" y="101"/>
                </a:cubicBezTo>
                <a:cubicBezTo>
                  <a:pt x="219" y="101"/>
                  <a:pt x="219" y="101"/>
                  <a:pt x="219" y="101"/>
                </a:cubicBezTo>
                <a:cubicBezTo>
                  <a:pt x="219" y="90"/>
                  <a:pt x="219" y="90"/>
                  <a:pt x="219" y="90"/>
                </a:cubicBezTo>
                <a:cubicBezTo>
                  <a:pt x="208" y="106"/>
                  <a:pt x="208" y="106"/>
                  <a:pt x="208" y="106"/>
                </a:cubicBezTo>
                <a:lnTo>
                  <a:pt x="208" y="111"/>
                </a:lnTo>
                <a:close/>
                <a:moveTo>
                  <a:pt x="117" y="92"/>
                </a:moveTo>
                <a:cubicBezTo>
                  <a:pt x="43" y="92"/>
                  <a:pt x="43" y="92"/>
                  <a:pt x="43" y="92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117" y="102"/>
                  <a:pt x="117" y="102"/>
                  <a:pt x="117" y="102"/>
                </a:cubicBezTo>
                <a:lnTo>
                  <a:pt x="117" y="92"/>
                </a:lnTo>
                <a:close/>
                <a:moveTo>
                  <a:pt x="43" y="235"/>
                </a:moveTo>
                <a:cubicBezTo>
                  <a:pt x="117" y="235"/>
                  <a:pt x="117" y="235"/>
                  <a:pt x="117" y="235"/>
                </a:cubicBezTo>
                <a:cubicBezTo>
                  <a:pt x="117" y="226"/>
                  <a:pt x="117" y="226"/>
                  <a:pt x="117" y="226"/>
                </a:cubicBezTo>
                <a:cubicBezTo>
                  <a:pt x="43" y="226"/>
                  <a:pt x="43" y="226"/>
                  <a:pt x="43" y="226"/>
                </a:cubicBezTo>
                <a:lnTo>
                  <a:pt x="43" y="235"/>
                </a:lnTo>
                <a:close/>
                <a:moveTo>
                  <a:pt x="208" y="287"/>
                </a:moveTo>
                <a:cubicBezTo>
                  <a:pt x="11" y="287"/>
                  <a:pt x="11" y="287"/>
                  <a:pt x="11" y="287"/>
                </a:cubicBezTo>
                <a:cubicBezTo>
                  <a:pt x="11" y="36"/>
                  <a:pt x="11" y="36"/>
                  <a:pt x="11" y="36"/>
                </a:cubicBezTo>
                <a:cubicBezTo>
                  <a:pt x="35" y="36"/>
                  <a:pt x="35" y="36"/>
                  <a:pt x="35" y="36"/>
                </a:cubicBezTo>
                <a:cubicBezTo>
                  <a:pt x="37" y="31"/>
                  <a:pt x="40" y="26"/>
                  <a:pt x="44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300"/>
                  <a:pt x="0" y="300"/>
                  <a:pt x="0" y="300"/>
                </a:cubicBezTo>
                <a:cubicBezTo>
                  <a:pt x="219" y="300"/>
                  <a:pt x="219" y="300"/>
                  <a:pt x="219" y="300"/>
                </a:cubicBezTo>
                <a:cubicBezTo>
                  <a:pt x="219" y="157"/>
                  <a:pt x="219" y="157"/>
                  <a:pt x="219" y="157"/>
                </a:cubicBezTo>
                <a:cubicBezTo>
                  <a:pt x="208" y="173"/>
                  <a:pt x="208" y="173"/>
                  <a:pt x="208" y="173"/>
                </a:cubicBezTo>
                <a:lnTo>
                  <a:pt x="208" y="287"/>
                </a:lnTo>
                <a:close/>
                <a:moveTo>
                  <a:pt x="117" y="159"/>
                </a:moveTo>
                <a:cubicBezTo>
                  <a:pt x="43" y="159"/>
                  <a:pt x="43" y="159"/>
                  <a:pt x="43" y="159"/>
                </a:cubicBezTo>
                <a:cubicBezTo>
                  <a:pt x="43" y="169"/>
                  <a:pt x="43" y="169"/>
                  <a:pt x="4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17" y="159"/>
                </a:lnTo>
                <a:close/>
                <a:moveTo>
                  <a:pt x="41" y="36"/>
                </a:moveTo>
                <a:cubicBezTo>
                  <a:pt x="43" y="29"/>
                  <a:pt x="50" y="25"/>
                  <a:pt x="57" y="22"/>
                </a:cubicBezTo>
                <a:cubicBezTo>
                  <a:pt x="63" y="21"/>
                  <a:pt x="71" y="20"/>
                  <a:pt x="77" y="20"/>
                </a:cubicBezTo>
                <a:cubicBezTo>
                  <a:pt x="80" y="20"/>
                  <a:pt x="83" y="20"/>
                  <a:pt x="86" y="20"/>
                </a:cubicBezTo>
                <a:cubicBezTo>
                  <a:pt x="87" y="20"/>
                  <a:pt x="88" y="20"/>
                  <a:pt x="89" y="20"/>
                </a:cubicBezTo>
                <a:cubicBezTo>
                  <a:pt x="89" y="9"/>
                  <a:pt x="98" y="0"/>
                  <a:pt x="110" y="0"/>
                </a:cubicBezTo>
                <a:cubicBezTo>
                  <a:pt x="121" y="0"/>
                  <a:pt x="130" y="9"/>
                  <a:pt x="130" y="20"/>
                </a:cubicBezTo>
                <a:cubicBezTo>
                  <a:pt x="131" y="20"/>
                  <a:pt x="132" y="20"/>
                  <a:pt x="133" y="20"/>
                </a:cubicBezTo>
                <a:cubicBezTo>
                  <a:pt x="136" y="20"/>
                  <a:pt x="139" y="20"/>
                  <a:pt x="142" y="20"/>
                </a:cubicBezTo>
                <a:cubicBezTo>
                  <a:pt x="149" y="20"/>
                  <a:pt x="156" y="21"/>
                  <a:pt x="162" y="22"/>
                </a:cubicBezTo>
                <a:cubicBezTo>
                  <a:pt x="170" y="25"/>
                  <a:pt x="176" y="29"/>
                  <a:pt x="178" y="36"/>
                </a:cubicBezTo>
                <a:cubicBezTo>
                  <a:pt x="179" y="38"/>
                  <a:pt x="179" y="41"/>
                  <a:pt x="179" y="43"/>
                </a:cubicBezTo>
                <a:cubicBezTo>
                  <a:pt x="145" y="43"/>
                  <a:pt x="74" y="43"/>
                  <a:pt x="40" y="43"/>
                </a:cubicBezTo>
                <a:cubicBezTo>
                  <a:pt x="40" y="41"/>
                  <a:pt x="41" y="38"/>
                  <a:pt x="41" y="36"/>
                </a:cubicBezTo>
                <a:close/>
                <a:moveTo>
                  <a:pt x="99" y="20"/>
                </a:moveTo>
                <a:cubicBezTo>
                  <a:pt x="103" y="20"/>
                  <a:pt x="106" y="20"/>
                  <a:pt x="110" y="20"/>
                </a:cubicBezTo>
                <a:cubicBezTo>
                  <a:pt x="113" y="20"/>
                  <a:pt x="116" y="20"/>
                  <a:pt x="120" y="20"/>
                </a:cubicBezTo>
                <a:cubicBezTo>
                  <a:pt x="119" y="15"/>
                  <a:pt x="115" y="11"/>
                  <a:pt x="110" y="11"/>
                </a:cubicBezTo>
                <a:cubicBezTo>
                  <a:pt x="104" y="11"/>
                  <a:pt x="100" y="15"/>
                  <a:pt x="99" y="20"/>
                </a:cubicBezTo>
                <a:close/>
                <a:moveTo>
                  <a:pt x="190" y="269"/>
                </a:moveTo>
                <a:cubicBezTo>
                  <a:pt x="29" y="269"/>
                  <a:pt x="29" y="269"/>
                  <a:pt x="29" y="269"/>
                </a:cubicBezTo>
                <a:cubicBezTo>
                  <a:pt x="29" y="59"/>
                  <a:pt x="29" y="59"/>
                  <a:pt x="29" y="59"/>
                </a:cubicBezTo>
                <a:cubicBezTo>
                  <a:pt x="190" y="59"/>
                  <a:pt x="190" y="59"/>
                  <a:pt x="190" y="59"/>
                </a:cubicBezTo>
                <a:cubicBezTo>
                  <a:pt x="190" y="71"/>
                  <a:pt x="190" y="71"/>
                  <a:pt x="190" y="71"/>
                </a:cubicBezTo>
                <a:cubicBezTo>
                  <a:pt x="200" y="57"/>
                  <a:pt x="200" y="57"/>
                  <a:pt x="200" y="57"/>
                </a:cubicBezTo>
                <a:cubicBezTo>
                  <a:pt x="200" y="49"/>
                  <a:pt x="200" y="49"/>
                  <a:pt x="200" y="49"/>
                </a:cubicBezTo>
                <a:cubicBezTo>
                  <a:pt x="19" y="49"/>
                  <a:pt x="19" y="49"/>
                  <a:pt x="19" y="49"/>
                </a:cubicBezTo>
                <a:cubicBezTo>
                  <a:pt x="19" y="278"/>
                  <a:pt x="19" y="278"/>
                  <a:pt x="19" y="278"/>
                </a:cubicBezTo>
                <a:cubicBezTo>
                  <a:pt x="200" y="278"/>
                  <a:pt x="200" y="278"/>
                  <a:pt x="200" y="278"/>
                </a:cubicBezTo>
                <a:cubicBezTo>
                  <a:pt x="200" y="185"/>
                  <a:pt x="200" y="185"/>
                  <a:pt x="200" y="185"/>
                </a:cubicBezTo>
                <a:cubicBezTo>
                  <a:pt x="190" y="199"/>
                  <a:pt x="190" y="199"/>
                  <a:pt x="190" y="199"/>
                </a:cubicBezTo>
                <a:lnTo>
                  <a:pt x="190" y="269"/>
                </a:lnTo>
                <a:close/>
                <a:moveTo>
                  <a:pt x="200" y="119"/>
                </a:moveTo>
                <a:cubicBezTo>
                  <a:pt x="190" y="133"/>
                  <a:pt x="190" y="133"/>
                  <a:pt x="190" y="133"/>
                </a:cubicBezTo>
                <a:cubicBezTo>
                  <a:pt x="190" y="138"/>
                  <a:pt x="190" y="138"/>
                  <a:pt x="190" y="138"/>
                </a:cubicBezTo>
                <a:cubicBezTo>
                  <a:pt x="200" y="124"/>
                  <a:pt x="200" y="124"/>
                  <a:pt x="200" y="124"/>
                </a:cubicBezTo>
                <a:lnTo>
                  <a:pt x="200" y="119"/>
                </a:lnTo>
                <a:close/>
                <a:moveTo>
                  <a:pt x="215" y="35"/>
                </a:moveTo>
                <a:cubicBezTo>
                  <a:pt x="219" y="35"/>
                  <a:pt x="219" y="35"/>
                  <a:pt x="219" y="35"/>
                </a:cubicBezTo>
                <a:cubicBezTo>
                  <a:pt x="219" y="22"/>
                  <a:pt x="219" y="22"/>
                  <a:pt x="219" y="22"/>
                </a:cubicBezTo>
                <a:cubicBezTo>
                  <a:pt x="175" y="22"/>
                  <a:pt x="175" y="22"/>
                  <a:pt x="175" y="22"/>
                </a:cubicBezTo>
                <a:cubicBezTo>
                  <a:pt x="179" y="26"/>
                  <a:pt x="182" y="30"/>
                  <a:pt x="184" y="36"/>
                </a:cubicBezTo>
                <a:cubicBezTo>
                  <a:pt x="208" y="36"/>
                  <a:pt x="208" y="36"/>
                  <a:pt x="208" y="36"/>
                </a:cubicBezTo>
                <a:cubicBezTo>
                  <a:pt x="208" y="44"/>
                  <a:pt x="208" y="44"/>
                  <a:pt x="208" y="44"/>
                </a:cubicBezTo>
                <a:lnTo>
                  <a:pt x="215" y="35"/>
                </a:lnTo>
                <a:close/>
                <a:moveTo>
                  <a:pt x="246" y="41"/>
                </a:moveTo>
                <a:cubicBezTo>
                  <a:pt x="182" y="134"/>
                  <a:pt x="182" y="134"/>
                  <a:pt x="182" y="134"/>
                </a:cubicBezTo>
                <a:cubicBezTo>
                  <a:pt x="155" y="134"/>
                  <a:pt x="155" y="134"/>
                  <a:pt x="155" y="134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56" y="92"/>
                  <a:pt x="156" y="92"/>
                  <a:pt x="156" y="92"/>
                </a:cubicBezTo>
                <a:cubicBezTo>
                  <a:pt x="169" y="113"/>
                  <a:pt x="169" y="113"/>
                  <a:pt x="169" y="113"/>
                </a:cubicBezTo>
                <a:cubicBezTo>
                  <a:pt x="218" y="41"/>
                  <a:pt x="218" y="41"/>
                  <a:pt x="218" y="41"/>
                </a:cubicBezTo>
                <a:lnTo>
                  <a:pt x="246" y="41"/>
                </a:lnTo>
                <a:close/>
                <a:moveTo>
                  <a:pt x="246" y="107"/>
                </a:moveTo>
                <a:cubicBezTo>
                  <a:pt x="182" y="201"/>
                  <a:pt x="182" y="201"/>
                  <a:pt x="182" y="201"/>
                </a:cubicBezTo>
                <a:cubicBezTo>
                  <a:pt x="155" y="201"/>
                  <a:pt x="155" y="201"/>
                  <a:pt x="155" y="201"/>
                </a:cubicBezTo>
                <a:cubicBezTo>
                  <a:pt x="129" y="159"/>
                  <a:pt x="129" y="159"/>
                  <a:pt x="129" y="159"/>
                </a:cubicBezTo>
                <a:cubicBezTo>
                  <a:pt x="156" y="159"/>
                  <a:pt x="156" y="159"/>
                  <a:pt x="156" y="159"/>
                </a:cubicBezTo>
                <a:cubicBezTo>
                  <a:pt x="169" y="180"/>
                  <a:pt x="169" y="180"/>
                  <a:pt x="169" y="180"/>
                </a:cubicBezTo>
                <a:cubicBezTo>
                  <a:pt x="218" y="107"/>
                  <a:pt x="218" y="107"/>
                  <a:pt x="218" y="107"/>
                </a:cubicBezTo>
                <a:lnTo>
                  <a:pt x="246" y="10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000" dirty="0"/>
          </a:p>
        </p:txBody>
      </p:sp>
      <p:grpSp>
        <p:nvGrpSpPr>
          <p:cNvPr id="42" name="Group 1"/>
          <p:cNvGrpSpPr/>
          <p:nvPr/>
        </p:nvGrpSpPr>
        <p:grpSpPr>
          <a:xfrm>
            <a:off x="2326794" y="4590037"/>
            <a:ext cx="930108" cy="677926"/>
            <a:chOff x="9218612" y="5181600"/>
            <a:chExt cx="914400" cy="666650"/>
          </a:xfrm>
        </p:grpSpPr>
        <p:sp>
          <p:nvSpPr>
            <p:cNvPr id="43" name="Freeform 79"/>
            <p:cNvSpPr>
              <a:spLocks/>
            </p:cNvSpPr>
            <p:nvPr/>
          </p:nvSpPr>
          <p:spPr bwMode="black">
            <a:xfrm>
              <a:off x="9218612" y="5526854"/>
              <a:ext cx="914400" cy="321396"/>
            </a:xfrm>
            <a:custGeom>
              <a:avLst/>
              <a:gdLst>
                <a:gd name="T0" fmla="*/ 159 w 260"/>
                <a:gd name="T1" fmla="*/ 7 h 97"/>
                <a:gd name="T2" fmla="*/ 143 w 260"/>
                <a:gd name="T3" fmla="*/ 23 h 97"/>
                <a:gd name="T4" fmla="*/ 121 w 260"/>
                <a:gd name="T5" fmla="*/ 23 h 97"/>
                <a:gd name="T6" fmla="*/ 105 w 260"/>
                <a:gd name="T7" fmla="*/ 7 h 97"/>
                <a:gd name="T8" fmla="*/ 105 w 260"/>
                <a:gd name="T9" fmla="*/ 0 h 97"/>
                <a:gd name="T10" fmla="*/ 0 w 260"/>
                <a:gd name="T11" fmla="*/ 0 h 97"/>
                <a:gd name="T12" fmla="*/ 0 w 260"/>
                <a:gd name="T13" fmla="*/ 81 h 97"/>
                <a:gd name="T14" fmla="*/ 16 w 260"/>
                <a:gd name="T15" fmla="*/ 97 h 97"/>
                <a:gd name="T16" fmla="*/ 244 w 260"/>
                <a:gd name="T17" fmla="*/ 97 h 97"/>
                <a:gd name="T18" fmla="*/ 260 w 260"/>
                <a:gd name="T19" fmla="*/ 81 h 97"/>
                <a:gd name="T20" fmla="*/ 260 w 260"/>
                <a:gd name="T21" fmla="*/ 0 h 97"/>
                <a:gd name="T22" fmla="*/ 159 w 260"/>
                <a:gd name="T23" fmla="*/ 0 h 97"/>
                <a:gd name="T24" fmla="*/ 159 w 260"/>
                <a:gd name="T25" fmla="*/ 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97">
                  <a:moveTo>
                    <a:pt x="159" y="7"/>
                  </a:moveTo>
                  <a:cubicBezTo>
                    <a:pt x="159" y="16"/>
                    <a:pt x="152" y="23"/>
                    <a:pt x="143" y="23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2" y="23"/>
                    <a:pt x="105" y="16"/>
                    <a:pt x="105" y="7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90"/>
                    <a:pt x="8" y="97"/>
                    <a:pt x="16" y="97"/>
                  </a:cubicBezTo>
                  <a:cubicBezTo>
                    <a:pt x="244" y="97"/>
                    <a:pt x="244" y="97"/>
                    <a:pt x="244" y="97"/>
                  </a:cubicBezTo>
                  <a:cubicBezTo>
                    <a:pt x="253" y="97"/>
                    <a:pt x="260" y="90"/>
                    <a:pt x="260" y="81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159" y="0"/>
                    <a:pt x="159" y="0"/>
                    <a:pt x="159" y="0"/>
                  </a:cubicBezTo>
                  <a:lnTo>
                    <a:pt x="159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44" name="Freeform 80"/>
            <p:cNvSpPr>
              <a:spLocks noEditPoints="1"/>
            </p:cNvSpPr>
            <p:nvPr/>
          </p:nvSpPr>
          <p:spPr bwMode="black">
            <a:xfrm>
              <a:off x="9218612" y="5181600"/>
              <a:ext cx="914400" cy="318589"/>
            </a:xfrm>
            <a:custGeom>
              <a:avLst/>
              <a:gdLst>
                <a:gd name="T0" fmla="*/ 244 w 260"/>
                <a:gd name="T1" fmla="*/ 39 h 96"/>
                <a:gd name="T2" fmla="*/ 212 w 260"/>
                <a:gd name="T3" fmla="*/ 39 h 96"/>
                <a:gd name="T4" fmla="*/ 212 w 260"/>
                <a:gd name="T5" fmla="*/ 19 h 96"/>
                <a:gd name="T6" fmla="*/ 189 w 260"/>
                <a:gd name="T7" fmla="*/ 0 h 96"/>
                <a:gd name="T8" fmla="*/ 70 w 260"/>
                <a:gd name="T9" fmla="*/ 0 h 96"/>
                <a:gd name="T10" fmla="*/ 47 w 260"/>
                <a:gd name="T11" fmla="*/ 19 h 96"/>
                <a:gd name="T12" fmla="*/ 47 w 260"/>
                <a:gd name="T13" fmla="*/ 39 h 96"/>
                <a:gd name="T14" fmla="*/ 16 w 260"/>
                <a:gd name="T15" fmla="*/ 39 h 96"/>
                <a:gd name="T16" fmla="*/ 0 w 260"/>
                <a:gd name="T17" fmla="*/ 54 h 96"/>
                <a:gd name="T18" fmla="*/ 0 w 260"/>
                <a:gd name="T19" fmla="*/ 96 h 96"/>
                <a:gd name="T20" fmla="*/ 105 w 260"/>
                <a:gd name="T21" fmla="*/ 96 h 96"/>
                <a:gd name="T22" fmla="*/ 105 w 260"/>
                <a:gd name="T23" fmla="*/ 89 h 96"/>
                <a:gd name="T24" fmla="*/ 121 w 260"/>
                <a:gd name="T25" fmla="*/ 74 h 96"/>
                <a:gd name="T26" fmla="*/ 143 w 260"/>
                <a:gd name="T27" fmla="*/ 74 h 96"/>
                <a:gd name="T28" fmla="*/ 159 w 260"/>
                <a:gd name="T29" fmla="*/ 89 h 96"/>
                <a:gd name="T30" fmla="*/ 159 w 260"/>
                <a:gd name="T31" fmla="*/ 96 h 96"/>
                <a:gd name="T32" fmla="*/ 260 w 260"/>
                <a:gd name="T33" fmla="*/ 96 h 96"/>
                <a:gd name="T34" fmla="*/ 260 w 260"/>
                <a:gd name="T35" fmla="*/ 54 h 96"/>
                <a:gd name="T36" fmla="*/ 244 w 260"/>
                <a:gd name="T37" fmla="*/ 39 h 96"/>
                <a:gd name="T38" fmla="*/ 197 w 260"/>
                <a:gd name="T39" fmla="*/ 39 h 96"/>
                <a:gd name="T40" fmla="*/ 61 w 260"/>
                <a:gd name="T41" fmla="*/ 39 h 96"/>
                <a:gd name="T42" fmla="*/ 61 w 260"/>
                <a:gd name="T43" fmla="*/ 19 h 96"/>
                <a:gd name="T44" fmla="*/ 70 w 260"/>
                <a:gd name="T45" fmla="*/ 14 h 96"/>
                <a:gd name="T46" fmla="*/ 189 w 260"/>
                <a:gd name="T47" fmla="*/ 14 h 96"/>
                <a:gd name="T48" fmla="*/ 197 w 260"/>
                <a:gd name="T49" fmla="*/ 19 h 96"/>
                <a:gd name="T50" fmla="*/ 197 w 260"/>
                <a:gd name="T51" fmla="*/ 3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0" h="96">
                  <a:moveTo>
                    <a:pt x="244" y="39"/>
                  </a:moveTo>
                  <a:cubicBezTo>
                    <a:pt x="212" y="39"/>
                    <a:pt x="212" y="39"/>
                    <a:pt x="212" y="39"/>
                  </a:cubicBezTo>
                  <a:cubicBezTo>
                    <a:pt x="212" y="19"/>
                    <a:pt x="212" y="19"/>
                    <a:pt x="212" y="19"/>
                  </a:cubicBezTo>
                  <a:cubicBezTo>
                    <a:pt x="212" y="8"/>
                    <a:pt x="202" y="0"/>
                    <a:pt x="189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57" y="0"/>
                    <a:pt x="47" y="8"/>
                    <a:pt x="47" y="1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8" y="39"/>
                    <a:pt x="0" y="46"/>
                    <a:pt x="0" y="5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105" y="96"/>
                    <a:pt x="105" y="96"/>
                    <a:pt x="105" y="96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05" y="81"/>
                    <a:pt x="112" y="74"/>
                    <a:pt x="121" y="74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52" y="74"/>
                    <a:pt x="159" y="81"/>
                    <a:pt x="159" y="89"/>
                  </a:cubicBezTo>
                  <a:cubicBezTo>
                    <a:pt x="159" y="96"/>
                    <a:pt x="159" y="96"/>
                    <a:pt x="159" y="96"/>
                  </a:cubicBezTo>
                  <a:cubicBezTo>
                    <a:pt x="260" y="96"/>
                    <a:pt x="260" y="96"/>
                    <a:pt x="260" y="96"/>
                  </a:cubicBezTo>
                  <a:cubicBezTo>
                    <a:pt x="260" y="54"/>
                    <a:pt x="260" y="54"/>
                    <a:pt x="260" y="54"/>
                  </a:cubicBezTo>
                  <a:cubicBezTo>
                    <a:pt x="260" y="46"/>
                    <a:pt x="253" y="39"/>
                    <a:pt x="244" y="39"/>
                  </a:cubicBezTo>
                  <a:close/>
                  <a:moveTo>
                    <a:pt x="197" y="39"/>
                  </a:moveTo>
                  <a:cubicBezTo>
                    <a:pt x="61" y="39"/>
                    <a:pt x="61" y="39"/>
                    <a:pt x="61" y="39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1" y="17"/>
                    <a:pt x="64" y="14"/>
                    <a:pt x="70" y="14"/>
                  </a:cubicBezTo>
                  <a:cubicBezTo>
                    <a:pt x="189" y="14"/>
                    <a:pt x="189" y="14"/>
                    <a:pt x="189" y="14"/>
                  </a:cubicBezTo>
                  <a:cubicBezTo>
                    <a:pt x="194" y="14"/>
                    <a:pt x="197" y="17"/>
                    <a:pt x="197" y="19"/>
                  </a:cubicBezTo>
                  <a:lnTo>
                    <a:pt x="197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pic>
        <p:nvPicPr>
          <p:cNvPr id="45" name="Picture 9" descr="\\MAGNUM\Projects\Microsoft\Cloud Power FY12\Design\Icons\PNGs\Optimized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</a:blip>
          <a:srcRect/>
          <a:stretch>
            <a:fillRect/>
          </a:stretch>
        </p:blipFill>
        <p:spPr bwMode="auto">
          <a:xfrm>
            <a:off x="7973763" y="1498044"/>
            <a:ext cx="575087" cy="574937"/>
          </a:xfrm>
          <a:prstGeom prst="rect">
            <a:avLst/>
          </a:prstGeom>
          <a:noFill/>
        </p:spPr>
      </p:pic>
      <p:sp>
        <p:nvSpPr>
          <p:cNvPr id="39" name="文本框 38"/>
          <p:cNvSpPr txBox="1"/>
          <p:nvPr/>
        </p:nvSpPr>
        <p:spPr>
          <a:xfrm>
            <a:off x="482249" y="3764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3069503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文本框 13"/>
          <p:cNvSpPr txBox="1"/>
          <p:nvPr/>
        </p:nvSpPr>
        <p:spPr>
          <a:xfrm>
            <a:off x="5937215" y="1611180"/>
            <a:ext cx="140806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800" dirty="0" smtClean="0">
                <a:solidFill>
                  <a:srgbClr val="DDA44F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rPr>
              <a:t>P</a:t>
            </a:r>
            <a:endParaRPr lang="zh-CN" altLang="en-US" sz="13800" dirty="0">
              <a:solidFill>
                <a:srgbClr val="DDA44F"/>
              </a:solidFill>
              <a:latin typeface="方正大黑简体" panose="03000509000000000000" pitchFamily="65" charset="-122"/>
              <a:ea typeface="方正大黑简体" panose="03000509000000000000" pitchFamily="65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793895" y="2486629"/>
            <a:ext cx="14139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1500">
                <a:solidFill>
                  <a:srgbClr val="E36A6C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defRPr>
            </a:lvl1pPr>
          </a:lstStyle>
          <a:p>
            <a:r>
              <a:rPr lang="en-US" altLang="zh-CN" sz="6000" dirty="0">
                <a:solidFill>
                  <a:srgbClr val="DDA44F"/>
                </a:solidFill>
              </a:rPr>
              <a:t>art</a:t>
            </a:r>
            <a:endParaRPr lang="zh-CN" altLang="en-US" sz="6000" dirty="0">
              <a:solidFill>
                <a:srgbClr val="DDA44F"/>
              </a:solidFill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7933426" y="1788151"/>
            <a:ext cx="403906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500" b="1" dirty="0" smtClean="0">
                <a:solidFill>
                  <a:srgbClr val="519CD6"/>
                </a:solidFill>
                <a:latin typeface="Helvetica LT Std" panose="020B0504020202020204" pitchFamily="34" charset="0"/>
                <a:ea typeface="Hiragino Sans GB W3" panose="020B0300000000000000" pitchFamily="34" charset="-122"/>
              </a:rPr>
              <a:t>2</a:t>
            </a:r>
            <a:endParaRPr lang="zh-CN" altLang="en-US" sz="11500" b="1" dirty="0">
              <a:solidFill>
                <a:srgbClr val="519CD6"/>
              </a:solidFill>
              <a:latin typeface="Helvetica LT Std" panose="020B0504020202020204" pitchFamily="34" charset="0"/>
              <a:ea typeface="Hiragino Sans GB W3" panose="020B0300000000000000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5968454" y="3606786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5944601" y="3508549"/>
            <a:ext cx="298087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>
            <a:off x="5944601" y="4303043"/>
            <a:ext cx="298087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组合 31"/>
          <p:cNvGrpSpPr/>
          <p:nvPr/>
        </p:nvGrpSpPr>
        <p:grpSpPr>
          <a:xfrm>
            <a:off x="2724396" y="1896618"/>
            <a:ext cx="2542903" cy="2542903"/>
            <a:chOff x="2724396" y="1896618"/>
            <a:chExt cx="2542903" cy="2542903"/>
          </a:xfrm>
        </p:grpSpPr>
        <p:sp>
          <p:nvSpPr>
            <p:cNvPr id="22" name="圆角矩形 21"/>
            <p:cNvSpPr/>
            <p:nvPr/>
          </p:nvSpPr>
          <p:spPr>
            <a:xfrm>
              <a:off x="2724396" y="1896618"/>
              <a:ext cx="2542903" cy="2542903"/>
            </a:xfrm>
            <a:prstGeom prst="roundRect">
              <a:avLst>
                <a:gd name="adj" fmla="val 7763"/>
              </a:avLst>
            </a:prstGeom>
            <a:solidFill>
              <a:srgbClr val="519C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任意多边形 30"/>
            <p:cNvSpPr/>
            <p:nvPr/>
          </p:nvSpPr>
          <p:spPr>
            <a:xfrm>
              <a:off x="3095985" y="2534206"/>
              <a:ext cx="2171314" cy="1905315"/>
            </a:xfrm>
            <a:custGeom>
              <a:avLst/>
              <a:gdLst>
                <a:gd name="connsiteX0" fmla="*/ 1791020 w 2171314"/>
                <a:gd name="connsiteY0" fmla="*/ 0 h 1905315"/>
                <a:gd name="connsiteX1" fmla="*/ 2171314 w 2171314"/>
                <a:gd name="connsiteY1" fmla="*/ 658689 h 1905315"/>
                <a:gd name="connsiteX2" fmla="*/ 2171314 w 2171314"/>
                <a:gd name="connsiteY2" fmla="*/ 1707909 h 1905315"/>
                <a:gd name="connsiteX3" fmla="*/ 1973908 w 2171314"/>
                <a:gd name="connsiteY3" fmla="*/ 1905315 h 1905315"/>
                <a:gd name="connsiteX4" fmla="*/ 562678 w 2171314"/>
                <a:gd name="connsiteY4" fmla="*/ 1905315 h 1905315"/>
                <a:gd name="connsiteX5" fmla="*/ 0 w 2171314"/>
                <a:gd name="connsiteY5" fmla="*/ 930728 h 1905315"/>
                <a:gd name="connsiteX6" fmla="*/ 0 w 2171314"/>
                <a:gd name="connsiteY6" fmla="*/ 512341 h 1905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1314" h="1905315">
                  <a:moveTo>
                    <a:pt x="1791020" y="0"/>
                  </a:moveTo>
                  <a:lnTo>
                    <a:pt x="2171314" y="658689"/>
                  </a:lnTo>
                  <a:lnTo>
                    <a:pt x="2171314" y="1707909"/>
                  </a:lnTo>
                  <a:cubicBezTo>
                    <a:pt x="2171314" y="1816933"/>
                    <a:pt x="2082932" y="1905315"/>
                    <a:pt x="1973908" y="1905315"/>
                  </a:cubicBezTo>
                  <a:lnTo>
                    <a:pt x="562678" y="1905315"/>
                  </a:lnTo>
                  <a:lnTo>
                    <a:pt x="0" y="930728"/>
                  </a:lnTo>
                  <a:lnTo>
                    <a:pt x="0" y="512341"/>
                  </a:lnTo>
                  <a:close/>
                </a:path>
              </a:pathLst>
            </a:custGeom>
            <a:solidFill>
              <a:srgbClr val="3B87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grpSp>
          <p:nvGrpSpPr>
            <p:cNvPr id="6" name="组合 5"/>
            <p:cNvGrpSpPr/>
            <p:nvPr/>
          </p:nvGrpSpPr>
          <p:grpSpPr>
            <a:xfrm>
              <a:off x="3105510" y="2380443"/>
              <a:ext cx="1780673" cy="1662167"/>
              <a:chOff x="3105510" y="2380443"/>
              <a:chExt cx="1780673" cy="1662167"/>
            </a:xfrm>
          </p:grpSpPr>
          <p:sp>
            <p:nvSpPr>
              <p:cNvPr id="2" name="圆角矩形 1"/>
              <p:cNvSpPr/>
              <p:nvPr/>
            </p:nvSpPr>
            <p:spPr>
              <a:xfrm>
                <a:off x="3105510" y="2380443"/>
                <a:ext cx="1780673" cy="1340542"/>
              </a:xfrm>
              <a:prstGeom prst="roundRect">
                <a:avLst>
                  <a:gd name="adj" fmla="val 9429"/>
                </a:avLst>
              </a:prstGeom>
              <a:solidFill>
                <a:srgbClr val="FFFE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" name="直角三角形 4"/>
              <p:cNvSpPr/>
              <p:nvPr/>
            </p:nvSpPr>
            <p:spPr>
              <a:xfrm flipV="1">
                <a:off x="3549315" y="3606784"/>
                <a:ext cx="324853" cy="435826"/>
              </a:xfrm>
              <a:prstGeom prst="rtTriangle">
                <a:avLst/>
              </a:prstGeom>
              <a:solidFill>
                <a:srgbClr val="FFFE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28856360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弧形 11"/>
          <p:cNvSpPr/>
          <p:nvPr/>
        </p:nvSpPr>
        <p:spPr>
          <a:xfrm rot="2819095" flipV="1">
            <a:off x="3073892" y="2476515"/>
            <a:ext cx="2673792" cy="2673792"/>
          </a:xfrm>
          <a:prstGeom prst="arc">
            <a:avLst>
              <a:gd name="adj1" fmla="val 16200000"/>
              <a:gd name="adj2" fmla="val 223379"/>
            </a:avLst>
          </a:prstGeom>
          <a:ln w="19050">
            <a:solidFill>
              <a:schemeClr val="bg2">
                <a:lumMod val="50000"/>
              </a:schemeClr>
            </a:solidFill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弧形 16"/>
          <p:cNvSpPr/>
          <p:nvPr/>
        </p:nvSpPr>
        <p:spPr>
          <a:xfrm rot="18780905">
            <a:off x="3061436" y="2125877"/>
            <a:ext cx="2673792" cy="2673792"/>
          </a:xfrm>
          <a:prstGeom prst="arc">
            <a:avLst>
              <a:gd name="adj1" fmla="val 16200000"/>
              <a:gd name="adj2" fmla="val 223379"/>
            </a:avLst>
          </a:prstGeom>
          <a:ln w="19050">
            <a:solidFill>
              <a:schemeClr val="bg2">
                <a:lumMod val="50000"/>
              </a:schemeClr>
            </a:solidFill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半闭框 17"/>
          <p:cNvSpPr/>
          <p:nvPr/>
        </p:nvSpPr>
        <p:spPr>
          <a:xfrm rot="8093902">
            <a:off x="7462354" y="3416370"/>
            <a:ext cx="466725" cy="466725"/>
          </a:xfrm>
          <a:prstGeom prst="halfFrame">
            <a:avLst>
              <a:gd name="adj1" fmla="val 17963"/>
              <a:gd name="adj2" fmla="val 1863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4974951" y="2496497"/>
            <a:ext cx="2306471" cy="2306471"/>
            <a:chOff x="4974951" y="2496497"/>
            <a:chExt cx="2306471" cy="2306471"/>
          </a:xfrm>
        </p:grpSpPr>
        <p:sp>
          <p:nvSpPr>
            <p:cNvPr id="13" name="椭圆 12"/>
            <p:cNvSpPr/>
            <p:nvPr/>
          </p:nvSpPr>
          <p:spPr>
            <a:xfrm>
              <a:off x="4974951" y="2496497"/>
              <a:ext cx="2306471" cy="2306471"/>
            </a:xfrm>
            <a:prstGeom prst="ellipse">
              <a:avLst/>
            </a:prstGeom>
            <a:solidFill>
              <a:srgbClr val="519C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任意多边形 13"/>
            <p:cNvSpPr/>
            <p:nvPr/>
          </p:nvSpPr>
          <p:spPr>
            <a:xfrm flipH="1">
              <a:off x="4987601" y="2499045"/>
              <a:ext cx="1140585" cy="2303921"/>
            </a:xfrm>
            <a:custGeom>
              <a:avLst/>
              <a:gdLst>
                <a:gd name="connsiteX0" fmla="*/ 0 w 1140585"/>
                <a:gd name="connsiteY0" fmla="*/ 0 h 2303921"/>
                <a:gd name="connsiteX1" fmla="*/ 219766 w 1140585"/>
                <a:gd name="connsiteY1" fmla="*/ 22154 h 2303921"/>
                <a:gd name="connsiteX2" fmla="*/ 1140585 w 1140585"/>
                <a:gd name="connsiteY2" fmla="*/ 1151960 h 2303921"/>
                <a:gd name="connsiteX3" fmla="*/ 219766 w 1140585"/>
                <a:gd name="connsiteY3" fmla="*/ 2281767 h 2303921"/>
                <a:gd name="connsiteX4" fmla="*/ 0 w 1140585"/>
                <a:gd name="connsiteY4" fmla="*/ 2303921 h 2303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0585" h="2303921">
                  <a:moveTo>
                    <a:pt x="0" y="0"/>
                  </a:moveTo>
                  <a:lnTo>
                    <a:pt x="219766" y="22154"/>
                  </a:lnTo>
                  <a:cubicBezTo>
                    <a:pt x="745277" y="129689"/>
                    <a:pt x="1140585" y="594660"/>
                    <a:pt x="1140585" y="1151960"/>
                  </a:cubicBezTo>
                  <a:cubicBezTo>
                    <a:pt x="1140585" y="1709261"/>
                    <a:pt x="745277" y="2174232"/>
                    <a:pt x="219766" y="2281767"/>
                  </a:cubicBezTo>
                  <a:lnTo>
                    <a:pt x="0" y="2303921"/>
                  </a:lnTo>
                  <a:close/>
                </a:path>
              </a:pathLst>
            </a:custGeom>
            <a:solidFill>
              <a:srgbClr val="3A87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Freeform 35"/>
            <p:cNvSpPr>
              <a:spLocks/>
            </p:cNvSpPr>
            <p:nvPr/>
          </p:nvSpPr>
          <p:spPr bwMode="black">
            <a:xfrm>
              <a:off x="5536233" y="3005632"/>
              <a:ext cx="1252841" cy="1288200"/>
            </a:xfrm>
            <a:custGeom>
              <a:avLst/>
              <a:gdLst>
                <a:gd name="T0" fmla="*/ 120 w 191"/>
                <a:gd name="T1" fmla="*/ 32 h 197"/>
                <a:gd name="T2" fmla="*/ 83 w 191"/>
                <a:gd name="T3" fmla="*/ 3 h 197"/>
                <a:gd name="T4" fmla="*/ 47 w 191"/>
                <a:gd name="T5" fmla="*/ 5 h 197"/>
                <a:gd name="T6" fmla="*/ 44 w 191"/>
                <a:gd name="T7" fmla="*/ 27 h 197"/>
                <a:gd name="T8" fmla="*/ 40 w 191"/>
                <a:gd name="T9" fmla="*/ 29 h 197"/>
                <a:gd name="T10" fmla="*/ 40 w 191"/>
                <a:gd name="T11" fmla="*/ 33 h 197"/>
                <a:gd name="T12" fmla="*/ 45 w 191"/>
                <a:gd name="T13" fmla="*/ 40 h 197"/>
                <a:gd name="T14" fmla="*/ 88 w 191"/>
                <a:gd name="T15" fmla="*/ 44 h 197"/>
                <a:gd name="T16" fmla="*/ 118 w 191"/>
                <a:gd name="T17" fmla="*/ 113 h 197"/>
                <a:gd name="T18" fmla="*/ 144 w 191"/>
                <a:gd name="T19" fmla="*/ 129 h 197"/>
                <a:gd name="T20" fmla="*/ 112 w 191"/>
                <a:gd name="T21" fmla="*/ 109 h 197"/>
                <a:gd name="T22" fmla="*/ 65 w 191"/>
                <a:gd name="T23" fmla="*/ 115 h 197"/>
                <a:gd name="T24" fmla="*/ 0 w 191"/>
                <a:gd name="T25" fmla="*/ 116 h 197"/>
                <a:gd name="T26" fmla="*/ 26 w 191"/>
                <a:gd name="T27" fmla="*/ 174 h 197"/>
                <a:gd name="T28" fmla="*/ 61 w 191"/>
                <a:gd name="T29" fmla="*/ 136 h 197"/>
                <a:gd name="T30" fmla="*/ 57 w 191"/>
                <a:gd name="T31" fmla="*/ 148 h 197"/>
                <a:gd name="T32" fmla="*/ 126 w 191"/>
                <a:gd name="T33" fmla="*/ 140 h 197"/>
                <a:gd name="T34" fmla="*/ 55 w 191"/>
                <a:gd name="T35" fmla="*/ 153 h 197"/>
                <a:gd name="T36" fmla="*/ 30 w 191"/>
                <a:gd name="T37" fmla="*/ 180 h 197"/>
                <a:gd name="T38" fmla="*/ 32 w 191"/>
                <a:gd name="T39" fmla="*/ 182 h 197"/>
                <a:gd name="T40" fmla="*/ 180 w 191"/>
                <a:gd name="T41" fmla="*/ 159 h 197"/>
                <a:gd name="T42" fmla="*/ 185 w 191"/>
                <a:gd name="T43" fmla="*/ 129 h 197"/>
                <a:gd name="T44" fmla="*/ 120 w 191"/>
                <a:gd name="T45" fmla="*/ 32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1" h="197">
                  <a:moveTo>
                    <a:pt x="120" y="32"/>
                  </a:moveTo>
                  <a:cubicBezTo>
                    <a:pt x="112" y="23"/>
                    <a:pt x="99" y="9"/>
                    <a:pt x="83" y="3"/>
                  </a:cubicBezTo>
                  <a:cubicBezTo>
                    <a:pt x="72" y="0"/>
                    <a:pt x="47" y="5"/>
                    <a:pt x="47" y="5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0" y="33"/>
                    <a:pt x="40" y="37"/>
                    <a:pt x="45" y="40"/>
                  </a:cubicBezTo>
                  <a:cubicBezTo>
                    <a:pt x="50" y="42"/>
                    <a:pt x="73" y="53"/>
                    <a:pt x="88" y="44"/>
                  </a:cubicBezTo>
                  <a:cubicBezTo>
                    <a:pt x="118" y="60"/>
                    <a:pt x="105" y="91"/>
                    <a:pt x="118" y="113"/>
                  </a:cubicBezTo>
                  <a:cubicBezTo>
                    <a:pt x="123" y="120"/>
                    <a:pt x="131" y="127"/>
                    <a:pt x="144" y="129"/>
                  </a:cubicBezTo>
                  <a:cubicBezTo>
                    <a:pt x="144" y="129"/>
                    <a:pt x="115" y="131"/>
                    <a:pt x="112" y="109"/>
                  </a:cubicBezTo>
                  <a:cubicBezTo>
                    <a:pt x="101" y="104"/>
                    <a:pt x="82" y="99"/>
                    <a:pt x="65" y="115"/>
                  </a:cubicBezTo>
                  <a:cubicBezTo>
                    <a:pt x="51" y="100"/>
                    <a:pt x="14" y="100"/>
                    <a:pt x="0" y="116"/>
                  </a:cubicBezTo>
                  <a:cubicBezTo>
                    <a:pt x="6" y="141"/>
                    <a:pt x="18" y="163"/>
                    <a:pt x="26" y="174"/>
                  </a:cubicBezTo>
                  <a:cubicBezTo>
                    <a:pt x="52" y="156"/>
                    <a:pt x="61" y="136"/>
                    <a:pt x="61" y="136"/>
                  </a:cubicBezTo>
                  <a:cubicBezTo>
                    <a:pt x="60" y="140"/>
                    <a:pt x="59" y="144"/>
                    <a:pt x="57" y="148"/>
                  </a:cubicBezTo>
                  <a:cubicBezTo>
                    <a:pt x="103" y="167"/>
                    <a:pt x="126" y="140"/>
                    <a:pt x="126" y="140"/>
                  </a:cubicBezTo>
                  <a:cubicBezTo>
                    <a:pt x="107" y="171"/>
                    <a:pt x="63" y="157"/>
                    <a:pt x="55" y="153"/>
                  </a:cubicBezTo>
                  <a:cubicBezTo>
                    <a:pt x="48" y="166"/>
                    <a:pt x="38" y="175"/>
                    <a:pt x="30" y="180"/>
                  </a:cubicBezTo>
                  <a:cubicBezTo>
                    <a:pt x="32" y="181"/>
                    <a:pt x="32" y="182"/>
                    <a:pt x="32" y="182"/>
                  </a:cubicBezTo>
                  <a:cubicBezTo>
                    <a:pt x="88" y="197"/>
                    <a:pt x="154" y="177"/>
                    <a:pt x="180" y="159"/>
                  </a:cubicBezTo>
                  <a:cubicBezTo>
                    <a:pt x="191" y="151"/>
                    <a:pt x="188" y="138"/>
                    <a:pt x="185" y="129"/>
                  </a:cubicBezTo>
                  <a:cubicBezTo>
                    <a:pt x="172" y="91"/>
                    <a:pt x="134" y="49"/>
                    <a:pt x="120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1717" tIns="30858" rIns="61717" bIns="30858" numCol="1" anchor="t" anchorCtr="0" compatLnSpc="1">
              <a:prstTxWarp prst="textNoShape">
                <a:avLst/>
              </a:prstTxWarp>
            </a:bodyPr>
            <a:lstStyle/>
            <a:p>
              <a:pPr defTabSz="685664"/>
              <a:endParaRPr lang="en-US" sz="1200">
                <a:solidFill>
                  <a:srgbClr val="FFFFFF"/>
                </a:solidFill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1515244" y="2496499"/>
            <a:ext cx="2306471" cy="2306471"/>
            <a:chOff x="1515244" y="2496499"/>
            <a:chExt cx="2306471" cy="2306471"/>
          </a:xfrm>
        </p:grpSpPr>
        <p:sp>
          <p:nvSpPr>
            <p:cNvPr id="5" name="椭圆 4"/>
            <p:cNvSpPr/>
            <p:nvPr/>
          </p:nvSpPr>
          <p:spPr>
            <a:xfrm>
              <a:off x="1515244" y="2496499"/>
              <a:ext cx="2306471" cy="2306471"/>
            </a:xfrm>
            <a:prstGeom prst="ellipse">
              <a:avLst/>
            </a:prstGeom>
            <a:solidFill>
              <a:srgbClr val="519C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任意多边形 5"/>
            <p:cNvSpPr/>
            <p:nvPr/>
          </p:nvSpPr>
          <p:spPr>
            <a:xfrm flipH="1">
              <a:off x="1527894" y="2499047"/>
              <a:ext cx="1140585" cy="2303921"/>
            </a:xfrm>
            <a:custGeom>
              <a:avLst/>
              <a:gdLst>
                <a:gd name="connsiteX0" fmla="*/ 0 w 1140585"/>
                <a:gd name="connsiteY0" fmla="*/ 0 h 2303921"/>
                <a:gd name="connsiteX1" fmla="*/ 219766 w 1140585"/>
                <a:gd name="connsiteY1" fmla="*/ 22154 h 2303921"/>
                <a:gd name="connsiteX2" fmla="*/ 1140585 w 1140585"/>
                <a:gd name="connsiteY2" fmla="*/ 1151960 h 2303921"/>
                <a:gd name="connsiteX3" fmla="*/ 219766 w 1140585"/>
                <a:gd name="connsiteY3" fmla="*/ 2281767 h 2303921"/>
                <a:gd name="connsiteX4" fmla="*/ 0 w 1140585"/>
                <a:gd name="connsiteY4" fmla="*/ 2303921 h 2303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0585" h="2303921">
                  <a:moveTo>
                    <a:pt x="0" y="0"/>
                  </a:moveTo>
                  <a:lnTo>
                    <a:pt x="219766" y="22154"/>
                  </a:lnTo>
                  <a:cubicBezTo>
                    <a:pt x="745277" y="129689"/>
                    <a:pt x="1140585" y="594660"/>
                    <a:pt x="1140585" y="1151960"/>
                  </a:cubicBezTo>
                  <a:cubicBezTo>
                    <a:pt x="1140585" y="1709261"/>
                    <a:pt x="745277" y="2174232"/>
                    <a:pt x="219766" y="2281767"/>
                  </a:cubicBezTo>
                  <a:lnTo>
                    <a:pt x="0" y="2303921"/>
                  </a:lnTo>
                  <a:close/>
                </a:path>
              </a:pathLst>
            </a:custGeom>
            <a:solidFill>
              <a:srgbClr val="3A87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Rounded Rectangle 29"/>
            <p:cNvSpPr/>
            <p:nvPr/>
          </p:nvSpPr>
          <p:spPr bwMode="black">
            <a:xfrm>
              <a:off x="2327239" y="2904040"/>
              <a:ext cx="682479" cy="1389792"/>
            </a:xfrm>
            <a:custGeom>
              <a:avLst/>
              <a:gdLst/>
              <a:ahLst/>
              <a:cxnLst/>
              <a:rect l="l" t="t" r="r" b="b"/>
              <a:pathLst>
                <a:path w="2136009" h="4350877">
                  <a:moveTo>
                    <a:pt x="111238" y="2095565"/>
                  </a:moveTo>
                  <a:cubicBezTo>
                    <a:pt x="168383" y="2095565"/>
                    <a:pt x="215464" y="2138656"/>
                    <a:pt x="221204" y="2194180"/>
                  </a:cubicBezTo>
                  <a:lnTo>
                    <a:pt x="222888" y="2194180"/>
                  </a:lnTo>
                  <a:cubicBezTo>
                    <a:pt x="222888" y="2661471"/>
                    <a:pt x="601700" y="3040283"/>
                    <a:pt x="1068991" y="3040283"/>
                  </a:cubicBezTo>
                  <a:cubicBezTo>
                    <a:pt x="1530017" y="3040283"/>
                    <a:pt x="1904922" y="2671559"/>
                    <a:pt x="1914148" y="2212909"/>
                  </a:cubicBezTo>
                  <a:cubicBezTo>
                    <a:pt x="1913589" y="2210904"/>
                    <a:pt x="1913533" y="2208860"/>
                    <a:pt x="1913533" y="2206803"/>
                  </a:cubicBezTo>
                  <a:cubicBezTo>
                    <a:pt x="1913533" y="2145368"/>
                    <a:pt x="1963336" y="2095565"/>
                    <a:pt x="2024771" y="2095565"/>
                  </a:cubicBezTo>
                  <a:cubicBezTo>
                    <a:pt x="2081917" y="2095565"/>
                    <a:pt x="2128997" y="2138656"/>
                    <a:pt x="2134737" y="2194180"/>
                  </a:cubicBezTo>
                  <a:lnTo>
                    <a:pt x="2136009" y="2194180"/>
                  </a:lnTo>
                  <a:lnTo>
                    <a:pt x="2135585" y="2202590"/>
                  </a:lnTo>
                  <a:cubicBezTo>
                    <a:pt x="2135983" y="2203980"/>
                    <a:pt x="2136009" y="2205388"/>
                    <a:pt x="2136009" y="2206803"/>
                  </a:cubicBezTo>
                  <a:lnTo>
                    <a:pt x="2134732" y="2219472"/>
                  </a:lnTo>
                  <a:cubicBezTo>
                    <a:pt x="2123259" y="2751175"/>
                    <a:pt x="1722042" y="3186685"/>
                    <a:pt x="1205164" y="3251541"/>
                  </a:cubicBezTo>
                  <a:lnTo>
                    <a:pt x="1205164" y="3820541"/>
                  </a:lnTo>
                  <a:lnTo>
                    <a:pt x="1457555" y="3820541"/>
                  </a:lnTo>
                  <a:cubicBezTo>
                    <a:pt x="1604003" y="3820541"/>
                    <a:pt x="1722723" y="3939261"/>
                    <a:pt x="1722723" y="4085709"/>
                  </a:cubicBezTo>
                  <a:lnTo>
                    <a:pt x="1722722" y="4085709"/>
                  </a:lnTo>
                  <a:cubicBezTo>
                    <a:pt x="1722722" y="4232157"/>
                    <a:pt x="1604002" y="4350877"/>
                    <a:pt x="1457554" y="4350877"/>
                  </a:cubicBezTo>
                  <a:lnTo>
                    <a:pt x="678455" y="4350876"/>
                  </a:lnTo>
                  <a:cubicBezTo>
                    <a:pt x="532007" y="4350876"/>
                    <a:pt x="413288" y="4232157"/>
                    <a:pt x="413287" y="4085709"/>
                  </a:cubicBezTo>
                  <a:cubicBezTo>
                    <a:pt x="413288" y="3939261"/>
                    <a:pt x="532007" y="3820541"/>
                    <a:pt x="678455" y="3820541"/>
                  </a:cubicBezTo>
                  <a:lnTo>
                    <a:pt x="930844" y="3820541"/>
                  </a:lnTo>
                  <a:lnTo>
                    <a:pt x="930844" y="3251239"/>
                  </a:lnTo>
                  <a:cubicBezTo>
                    <a:pt x="419935" y="3186221"/>
                    <a:pt x="22536" y="2758927"/>
                    <a:pt x="4029" y="2234922"/>
                  </a:cubicBezTo>
                  <a:cubicBezTo>
                    <a:pt x="1255" y="2226017"/>
                    <a:pt x="0" y="2216556"/>
                    <a:pt x="0" y="2206803"/>
                  </a:cubicBezTo>
                  <a:cubicBezTo>
                    <a:pt x="0" y="2145368"/>
                    <a:pt x="49803" y="2095565"/>
                    <a:pt x="111238" y="2095565"/>
                  </a:cubicBezTo>
                  <a:close/>
                  <a:moveTo>
                    <a:pt x="1050366" y="0"/>
                  </a:moveTo>
                  <a:lnTo>
                    <a:pt x="1085642" y="0"/>
                  </a:lnTo>
                  <a:cubicBezTo>
                    <a:pt x="1458724" y="0"/>
                    <a:pt x="1761980" y="298955"/>
                    <a:pt x="1767734" y="670400"/>
                  </a:cubicBezTo>
                  <a:lnTo>
                    <a:pt x="1582354" y="670400"/>
                  </a:lnTo>
                  <a:cubicBezTo>
                    <a:pt x="1489769" y="670400"/>
                    <a:pt x="1414714" y="745455"/>
                    <a:pt x="1414714" y="838040"/>
                  </a:cubicBezTo>
                  <a:cubicBezTo>
                    <a:pt x="1414714" y="930625"/>
                    <a:pt x="1489769" y="1005680"/>
                    <a:pt x="1582354" y="1005680"/>
                  </a:cubicBezTo>
                  <a:lnTo>
                    <a:pt x="1769044" y="1005680"/>
                  </a:lnTo>
                  <a:lnTo>
                    <a:pt x="1769044" y="1319453"/>
                  </a:lnTo>
                  <a:lnTo>
                    <a:pt x="1582354" y="1319453"/>
                  </a:lnTo>
                  <a:cubicBezTo>
                    <a:pt x="1489769" y="1319453"/>
                    <a:pt x="1414714" y="1394508"/>
                    <a:pt x="1414714" y="1487093"/>
                  </a:cubicBezTo>
                  <a:cubicBezTo>
                    <a:pt x="1414714" y="1579678"/>
                    <a:pt x="1489769" y="1654733"/>
                    <a:pt x="1582354" y="1654733"/>
                  </a:cubicBezTo>
                  <a:lnTo>
                    <a:pt x="1769044" y="1654733"/>
                  </a:lnTo>
                  <a:lnTo>
                    <a:pt x="1769044" y="1968506"/>
                  </a:lnTo>
                  <a:lnTo>
                    <a:pt x="1582354" y="1968506"/>
                  </a:lnTo>
                  <a:cubicBezTo>
                    <a:pt x="1489769" y="1968506"/>
                    <a:pt x="1414714" y="2043561"/>
                    <a:pt x="1414714" y="2136146"/>
                  </a:cubicBezTo>
                  <a:cubicBezTo>
                    <a:pt x="1414714" y="2228731"/>
                    <a:pt x="1489769" y="2303786"/>
                    <a:pt x="1582354" y="2303786"/>
                  </a:cubicBezTo>
                  <a:lnTo>
                    <a:pt x="1758275" y="2303786"/>
                  </a:lnTo>
                  <a:cubicBezTo>
                    <a:pt x="1709241" y="2630669"/>
                    <a:pt x="1426601" y="2880360"/>
                    <a:pt x="1085642" y="2880360"/>
                  </a:cubicBezTo>
                  <a:lnTo>
                    <a:pt x="1050366" y="2880360"/>
                  </a:lnTo>
                  <a:cubicBezTo>
                    <a:pt x="709407" y="2880360"/>
                    <a:pt x="426767" y="2630669"/>
                    <a:pt x="377733" y="2303786"/>
                  </a:cubicBezTo>
                  <a:lnTo>
                    <a:pt x="549845" y="2303786"/>
                  </a:lnTo>
                  <a:cubicBezTo>
                    <a:pt x="642430" y="2303786"/>
                    <a:pt x="717485" y="2228731"/>
                    <a:pt x="717485" y="2136146"/>
                  </a:cubicBezTo>
                  <a:cubicBezTo>
                    <a:pt x="717485" y="2043561"/>
                    <a:pt x="642430" y="1968506"/>
                    <a:pt x="549845" y="1968506"/>
                  </a:cubicBezTo>
                  <a:lnTo>
                    <a:pt x="366964" y="1968506"/>
                  </a:lnTo>
                  <a:lnTo>
                    <a:pt x="366964" y="1654733"/>
                  </a:lnTo>
                  <a:lnTo>
                    <a:pt x="549845" y="1654733"/>
                  </a:lnTo>
                  <a:cubicBezTo>
                    <a:pt x="642430" y="1654733"/>
                    <a:pt x="717485" y="1579678"/>
                    <a:pt x="717485" y="1487093"/>
                  </a:cubicBezTo>
                  <a:cubicBezTo>
                    <a:pt x="717485" y="1394508"/>
                    <a:pt x="642430" y="1319453"/>
                    <a:pt x="549845" y="1319453"/>
                  </a:cubicBezTo>
                  <a:lnTo>
                    <a:pt x="366964" y="1319453"/>
                  </a:lnTo>
                  <a:lnTo>
                    <a:pt x="366964" y="1005680"/>
                  </a:lnTo>
                  <a:lnTo>
                    <a:pt x="549845" y="1005680"/>
                  </a:lnTo>
                  <a:cubicBezTo>
                    <a:pt x="642430" y="1005680"/>
                    <a:pt x="717485" y="930625"/>
                    <a:pt x="717485" y="838040"/>
                  </a:cubicBezTo>
                  <a:cubicBezTo>
                    <a:pt x="717485" y="745455"/>
                    <a:pt x="642430" y="670400"/>
                    <a:pt x="549845" y="670400"/>
                  </a:cubicBezTo>
                  <a:lnTo>
                    <a:pt x="368275" y="670400"/>
                  </a:lnTo>
                  <a:cubicBezTo>
                    <a:pt x="374028" y="298955"/>
                    <a:pt x="677284" y="0"/>
                    <a:pt x="1050366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dirty="0" err="1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8434658" y="2496497"/>
            <a:ext cx="2306471" cy="2306471"/>
            <a:chOff x="8434658" y="2496497"/>
            <a:chExt cx="2306471" cy="2306471"/>
          </a:xfrm>
        </p:grpSpPr>
        <p:sp>
          <p:nvSpPr>
            <p:cNvPr id="19" name="椭圆 18"/>
            <p:cNvSpPr/>
            <p:nvPr/>
          </p:nvSpPr>
          <p:spPr>
            <a:xfrm>
              <a:off x="8434658" y="2496497"/>
              <a:ext cx="2306471" cy="2306471"/>
            </a:xfrm>
            <a:prstGeom prst="ellipse">
              <a:avLst/>
            </a:prstGeom>
            <a:solidFill>
              <a:srgbClr val="E8B1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任意多边形 19"/>
            <p:cNvSpPr/>
            <p:nvPr/>
          </p:nvSpPr>
          <p:spPr>
            <a:xfrm flipH="1">
              <a:off x="8447308" y="2499045"/>
              <a:ext cx="1140585" cy="2303921"/>
            </a:xfrm>
            <a:custGeom>
              <a:avLst/>
              <a:gdLst>
                <a:gd name="connsiteX0" fmla="*/ 0 w 1140585"/>
                <a:gd name="connsiteY0" fmla="*/ 0 h 2303921"/>
                <a:gd name="connsiteX1" fmla="*/ 219766 w 1140585"/>
                <a:gd name="connsiteY1" fmla="*/ 22154 h 2303921"/>
                <a:gd name="connsiteX2" fmla="*/ 1140585 w 1140585"/>
                <a:gd name="connsiteY2" fmla="*/ 1151960 h 2303921"/>
                <a:gd name="connsiteX3" fmla="*/ 219766 w 1140585"/>
                <a:gd name="connsiteY3" fmla="*/ 2281767 h 2303921"/>
                <a:gd name="connsiteX4" fmla="*/ 0 w 1140585"/>
                <a:gd name="connsiteY4" fmla="*/ 2303921 h 2303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0585" h="2303921">
                  <a:moveTo>
                    <a:pt x="0" y="0"/>
                  </a:moveTo>
                  <a:lnTo>
                    <a:pt x="219766" y="22154"/>
                  </a:lnTo>
                  <a:cubicBezTo>
                    <a:pt x="745277" y="129689"/>
                    <a:pt x="1140585" y="594660"/>
                    <a:pt x="1140585" y="1151960"/>
                  </a:cubicBezTo>
                  <a:cubicBezTo>
                    <a:pt x="1140585" y="1709261"/>
                    <a:pt x="745277" y="2174232"/>
                    <a:pt x="219766" y="2281767"/>
                  </a:cubicBezTo>
                  <a:lnTo>
                    <a:pt x="0" y="2303921"/>
                  </a:lnTo>
                  <a:close/>
                </a:path>
              </a:pathLst>
            </a:custGeom>
            <a:solidFill>
              <a:srgbClr val="DDA4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1" name="Picture 7" descr="\\MAGNUM\Projects\Microsoft\Cloud Power FY12\Design\Icons\PNGs\Pooled.png"/>
            <p:cNvPicPr>
              <a:picLocks noChangeAspect="1" noChangeArrowheads="1"/>
            </p:cNvPicPr>
            <p:nvPr/>
          </p:nvPicPr>
          <p:blipFill>
            <a:blip r:embed="rId2" cstate="print">
              <a:lum bright="100000"/>
            </a:blip>
            <a:stretch>
              <a:fillRect/>
            </a:stretch>
          </p:blipFill>
          <p:spPr bwMode="auto">
            <a:xfrm>
              <a:off x="8663353" y="2756834"/>
              <a:ext cx="1874379" cy="1873890"/>
            </a:xfrm>
            <a:prstGeom prst="rect">
              <a:avLst/>
            </a:prstGeom>
            <a:noFill/>
          </p:spPr>
        </p:pic>
      </p:grpSp>
      <p:sp>
        <p:nvSpPr>
          <p:cNvPr id="22" name="文本框 21"/>
          <p:cNvSpPr txBox="1"/>
          <p:nvPr/>
        </p:nvSpPr>
        <p:spPr>
          <a:xfrm>
            <a:off x="482249" y="376422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5974409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 rot="2703315">
            <a:off x="5219700" y="1129757"/>
            <a:ext cx="1819275" cy="1819275"/>
          </a:xfrm>
          <a:prstGeom prst="rect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 rot="2703315">
            <a:off x="3872608" y="2470707"/>
            <a:ext cx="1819275" cy="1819275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直角三角形 3"/>
          <p:cNvSpPr/>
          <p:nvPr/>
        </p:nvSpPr>
        <p:spPr>
          <a:xfrm rot="2703315">
            <a:off x="3872608" y="2470706"/>
            <a:ext cx="1819275" cy="1819275"/>
          </a:xfrm>
          <a:prstGeom prst="rtTriangl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直角三角形 4"/>
          <p:cNvSpPr/>
          <p:nvPr/>
        </p:nvSpPr>
        <p:spPr>
          <a:xfrm rot="2703315">
            <a:off x="5219700" y="1129757"/>
            <a:ext cx="1819275" cy="1819275"/>
          </a:xfrm>
          <a:prstGeom prst="rtTriangle">
            <a:avLst/>
          </a:pr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 rot="2703315">
            <a:off x="5219699" y="3825332"/>
            <a:ext cx="1819275" cy="1819275"/>
          </a:xfrm>
          <a:prstGeom prst="rect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直角三角形 6"/>
          <p:cNvSpPr/>
          <p:nvPr/>
        </p:nvSpPr>
        <p:spPr>
          <a:xfrm rot="2703315">
            <a:off x="5219699" y="3825332"/>
            <a:ext cx="1819275" cy="1819275"/>
          </a:xfrm>
          <a:prstGeom prst="rtTriangle">
            <a:avLst/>
          </a:pr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 rot="2703315">
            <a:off x="6566792" y="2470708"/>
            <a:ext cx="1819275" cy="1819275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直角三角形 8"/>
          <p:cNvSpPr/>
          <p:nvPr/>
        </p:nvSpPr>
        <p:spPr>
          <a:xfrm rot="2703315">
            <a:off x="6566792" y="2470707"/>
            <a:ext cx="1819275" cy="1819275"/>
          </a:xfrm>
          <a:prstGeom prst="rtTriangl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4" name="组合 13"/>
          <p:cNvGrpSpPr/>
          <p:nvPr/>
        </p:nvGrpSpPr>
        <p:grpSpPr>
          <a:xfrm>
            <a:off x="6425869" y="1123954"/>
            <a:ext cx="3352800" cy="344678"/>
            <a:chOff x="6425869" y="1500376"/>
            <a:chExt cx="3352800" cy="344678"/>
          </a:xfrm>
        </p:grpSpPr>
        <p:cxnSp>
          <p:nvCxnSpPr>
            <p:cNvPr id="19" name="直接连接符 18"/>
            <p:cNvCxnSpPr/>
            <p:nvPr/>
          </p:nvCxnSpPr>
          <p:spPr>
            <a:xfrm flipV="1">
              <a:off x="6425869" y="1500376"/>
              <a:ext cx="523875" cy="344678"/>
            </a:xfrm>
            <a:prstGeom prst="line">
              <a:avLst/>
            </a:prstGeom>
            <a:ln>
              <a:solidFill>
                <a:srgbClr val="E8B16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/>
            <p:cNvCxnSpPr/>
            <p:nvPr/>
          </p:nvCxnSpPr>
          <p:spPr>
            <a:xfrm>
              <a:off x="6949744" y="1500376"/>
              <a:ext cx="2828925" cy="0"/>
            </a:xfrm>
            <a:prstGeom prst="line">
              <a:avLst/>
            </a:prstGeom>
            <a:ln>
              <a:solidFill>
                <a:srgbClr val="E8B16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组合 14"/>
          <p:cNvGrpSpPr/>
          <p:nvPr/>
        </p:nvGrpSpPr>
        <p:grpSpPr>
          <a:xfrm>
            <a:off x="8157414" y="2825422"/>
            <a:ext cx="3352800" cy="344678"/>
            <a:chOff x="8157414" y="3201844"/>
            <a:chExt cx="3352800" cy="344678"/>
          </a:xfrm>
        </p:grpSpPr>
        <p:cxnSp>
          <p:nvCxnSpPr>
            <p:cNvPr id="22" name="直接连接符 21"/>
            <p:cNvCxnSpPr/>
            <p:nvPr/>
          </p:nvCxnSpPr>
          <p:spPr>
            <a:xfrm flipV="1">
              <a:off x="8157414" y="3201844"/>
              <a:ext cx="523875" cy="344678"/>
            </a:xfrm>
            <a:prstGeom prst="line">
              <a:avLst/>
            </a:prstGeom>
            <a:ln>
              <a:solidFill>
                <a:srgbClr val="529D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/>
            <p:cNvCxnSpPr/>
            <p:nvPr/>
          </p:nvCxnSpPr>
          <p:spPr>
            <a:xfrm>
              <a:off x="8681289" y="3201844"/>
              <a:ext cx="2828925" cy="0"/>
            </a:xfrm>
            <a:prstGeom prst="line">
              <a:avLst/>
            </a:prstGeom>
            <a:ln>
              <a:solidFill>
                <a:srgbClr val="529D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组合 16"/>
          <p:cNvGrpSpPr/>
          <p:nvPr/>
        </p:nvGrpSpPr>
        <p:grpSpPr>
          <a:xfrm>
            <a:off x="859010" y="3625035"/>
            <a:ext cx="3340768" cy="344678"/>
            <a:chOff x="859010" y="4001457"/>
            <a:chExt cx="3340768" cy="344678"/>
          </a:xfrm>
        </p:grpSpPr>
        <p:cxnSp>
          <p:nvCxnSpPr>
            <p:cNvPr id="20" name="直接连接符 19"/>
            <p:cNvCxnSpPr/>
            <p:nvPr/>
          </p:nvCxnSpPr>
          <p:spPr>
            <a:xfrm flipV="1">
              <a:off x="3675903" y="4001457"/>
              <a:ext cx="523875" cy="344678"/>
            </a:xfrm>
            <a:prstGeom prst="line">
              <a:avLst/>
            </a:prstGeom>
            <a:ln>
              <a:solidFill>
                <a:srgbClr val="529D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23"/>
            <p:cNvCxnSpPr/>
            <p:nvPr/>
          </p:nvCxnSpPr>
          <p:spPr>
            <a:xfrm>
              <a:off x="859010" y="4346135"/>
              <a:ext cx="2828925" cy="0"/>
            </a:xfrm>
            <a:prstGeom prst="line">
              <a:avLst/>
            </a:prstGeom>
            <a:ln>
              <a:solidFill>
                <a:srgbClr val="529D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组合 15"/>
          <p:cNvGrpSpPr/>
          <p:nvPr/>
        </p:nvGrpSpPr>
        <p:grpSpPr>
          <a:xfrm>
            <a:off x="2417853" y="5448269"/>
            <a:ext cx="3352800" cy="344678"/>
            <a:chOff x="2417853" y="5824691"/>
            <a:chExt cx="3352800" cy="344678"/>
          </a:xfrm>
        </p:grpSpPr>
        <p:cxnSp>
          <p:nvCxnSpPr>
            <p:cNvPr id="25" name="直接连接符 24"/>
            <p:cNvCxnSpPr/>
            <p:nvPr/>
          </p:nvCxnSpPr>
          <p:spPr>
            <a:xfrm flipV="1">
              <a:off x="5246778" y="5824691"/>
              <a:ext cx="523875" cy="344678"/>
            </a:xfrm>
            <a:prstGeom prst="line">
              <a:avLst/>
            </a:prstGeom>
            <a:ln>
              <a:solidFill>
                <a:srgbClr val="E8B16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/>
            <p:cNvCxnSpPr/>
            <p:nvPr/>
          </p:nvCxnSpPr>
          <p:spPr>
            <a:xfrm>
              <a:off x="2417853" y="6169369"/>
              <a:ext cx="2828925" cy="0"/>
            </a:xfrm>
            <a:prstGeom prst="line">
              <a:avLst/>
            </a:prstGeom>
            <a:ln>
              <a:solidFill>
                <a:srgbClr val="E8B16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8406" y="2866031"/>
            <a:ext cx="1267677" cy="1045190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28" name="Picture 186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00739">
            <a:off x="5688788" y="4221365"/>
            <a:ext cx="1049936" cy="985402"/>
          </a:xfrm>
          <a:prstGeom prst="rect">
            <a:avLst/>
          </a:prstGeom>
          <a:effectLst/>
        </p:spPr>
      </p:pic>
      <p:sp>
        <p:nvSpPr>
          <p:cNvPr id="29" name="Freeform 15"/>
          <p:cNvSpPr>
            <a:spLocks noEditPoints="1"/>
          </p:cNvSpPr>
          <p:nvPr/>
        </p:nvSpPr>
        <p:spPr bwMode="black">
          <a:xfrm>
            <a:off x="6960471" y="2866031"/>
            <a:ext cx="963815" cy="951084"/>
          </a:xfrm>
          <a:custGeom>
            <a:avLst/>
            <a:gdLst>
              <a:gd name="T0" fmla="*/ 455 w 708"/>
              <a:gd name="T1" fmla="*/ 121 h 709"/>
              <a:gd name="T2" fmla="*/ 392 w 708"/>
              <a:gd name="T3" fmla="*/ 121 h 709"/>
              <a:gd name="T4" fmla="*/ 392 w 708"/>
              <a:gd name="T5" fmla="*/ 206 h 709"/>
              <a:gd name="T6" fmla="*/ 316 w 708"/>
              <a:gd name="T7" fmla="*/ 206 h 709"/>
              <a:gd name="T8" fmla="*/ 316 w 708"/>
              <a:gd name="T9" fmla="*/ 121 h 709"/>
              <a:gd name="T10" fmla="*/ 250 w 708"/>
              <a:gd name="T11" fmla="*/ 121 h 709"/>
              <a:gd name="T12" fmla="*/ 354 w 708"/>
              <a:gd name="T13" fmla="*/ 0 h 709"/>
              <a:gd name="T14" fmla="*/ 455 w 708"/>
              <a:gd name="T15" fmla="*/ 121 h 709"/>
              <a:gd name="T16" fmla="*/ 205 w 708"/>
              <a:gd name="T17" fmla="*/ 371 h 709"/>
              <a:gd name="T18" fmla="*/ 139 w 708"/>
              <a:gd name="T19" fmla="*/ 371 h 709"/>
              <a:gd name="T20" fmla="*/ 139 w 708"/>
              <a:gd name="T21" fmla="*/ 456 h 709"/>
              <a:gd name="T22" fmla="*/ 63 w 708"/>
              <a:gd name="T23" fmla="*/ 456 h 709"/>
              <a:gd name="T24" fmla="*/ 63 w 708"/>
              <a:gd name="T25" fmla="*/ 371 h 709"/>
              <a:gd name="T26" fmla="*/ 0 w 708"/>
              <a:gd name="T27" fmla="*/ 371 h 709"/>
              <a:gd name="T28" fmla="*/ 101 w 708"/>
              <a:gd name="T29" fmla="*/ 251 h 709"/>
              <a:gd name="T30" fmla="*/ 205 w 708"/>
              <a:gd name="T31" fmla="*/ 371 h 709"/>
              <a:gd name="T32" fmla="*/ 205 w 708"/>
              <a:gd name="T33" fmla="*/ 503 h 709"/>
              <a:gd name="T34" fmla="*/ 0 w 708"/>
              <a:gd name="T35" fmla="*/ 503 h 709"/>
              <a:gd name="T36" fmla="*/ 0 w 708"/>
              <a:gd name="T37" fmla="*/ 709 h 709"/>
              <a:gd name="T38" fmla="*/ 205 w 708"/>
              <a:gd name="T39" fmla="*/ 709 h 709"/>
              <a:gd name="T40" fmla="*/ 205 w 708"/>
              <a:gd name="T41" fmla="*/ 503 h 709"/>
              <a:gd name="T42" fmla="*/ 708 w 708"/>
              <a:gd name="T43" fmla="*/ 503 h 709"/>
              <a:gd name="T44" fmla="*/ 503 w 708"/>
              <a:gd name="T45" fmla="*/ 503 h 709"/>
              <a:gd name="T46" fmla="*/ 503 w 708"/>
              <a:gd name="T47" fmla="*/ 709 h 709"/>
              <a:gd name="T48" fmla="*/ 708 w 708"/>
              <a:gd name="T49" fmla="*/ 709 h 709"/>
              <a:gd name="T50" fmla="*/ 708 w 708"/>
              <a:gd name="T51" fmla="*/ 503 h 709"/>
              <a:gd name="T52" fmla="*/ 708 w 708"/>
              <a:gd name="T53" fmla="*/ 0 h 709"/>
              <a:gd name="T54" fmla="*/ 503 w 708"/>
              <a:gd name="T55" fmla="*/ 0 h 709"/>
              <a:gd name="T56" fmla="*/ 503 w 708"/>
              <a:gd name="T57" fmla="*/ 206 h 709"/>
              <a:gd name="T58" fmla="*/ 708 w 708"/>
              <a:gd name="T59" fmla="*/ 206 h 709"/>
              <a:gd name="T60" fmla="*/ 708 w 708"/>
              <a:gd name="T61" fmla="*/ 0 h 709"/>
              <a:gd name="T62" fmla="*/ 708 w 708"/>
              <a:gd name="T63" fmla="*/ 251 h 709"/>
              <a:gd name="T64" fmla="*/ 503 w 708"/>
              <a:gd name="T65" fmla="*/ 251 h 709"/>
              <a:gd name="T66" fmla="*/ 503 w 708"/>
              <a:gd name="T67" fmla="*/ 456 h 709"/>
              <a:gd name="T68" fmla="*/ 708 w 708"/>
              <a:gd name="T69" fmla="*/ 456 h 709"/>
              <a:gd name="T70" fmla="*/ 708 w 708"/>
              <a:gd name="T71" fmla="*/ 251 h 709"/>
              <a:gd name="T72" fmla="*/ 455 w 708"/>
              <a:gd name="T73" fmla="*/ 251 h 709"/>
              <a:gd name="T74" fmla="*/ 250 w 708"/>
              <a:gd name="T75" fmla="*/ 251 h 709"/>
              <a:gd name="T76" fmla="*/ 250 w 708"/>
              <a:gd name="T77" fmla="*/ 456 h 709"/>
              <a:gd name="T78" fmla="*/ 455 w 708"/>
              <a:gd name="T79" fmla="*/ 456 h 709"/>
              <a:gd name="T80" fmla="*/ 455 w 708"/>
              <a:gd name="T81" fmla="*/ 251 h 709"/>
              <a:gd name="T82" fmla="*/ 455 w 708"/>
              <a:gd name="T83" fmla="*/ 503 h 709"/>
              <a:gd name="T84" fmla="*/ 250 w 708"/>
              <a:gd name="T85" fmla="*/ 503 h 709"/>
              <a:gd name="T86" fmla="*/ 250 w 708"/>
              <a:gd name="T87" fmla="*/ 709 h 709"/>
              <a:gd name="T88" fmla="*/ 455 w 708"/>
              <a:gd name="T89" fmla="*/ 709 h 709"/>
              <a:gd name="T90" fmla="*/ 455 w 708"/>
              <a:gd name="T91" fmla="*/ 503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08" h="709">
                <a:moveTo>
                  <a:pt x="455" y="121"/>
                </a:moveTo>
                <a:lnTo>
                  <a:pt x="392" y="121"/>
                </a:lnTo>
                <a:lnTo>
                  <a:pt x="392" y="206"/>
                </a:lnTo>
                <a:lnTo>
                  <a:pt x="316" y="206"/>
                </a:lnTo>
                <a:lnTo>
                  <a:pt x="316" y="121"/>
                </a:lnTo>
                <a:lnTo>
                  <a:pt x="250" y="121"/>
                </a:lnTo>
                <a:lnTo>
                  <a:pt x="354" y="0"/>
                </a:lnTo>
                <a:lnTo>
                  <a:pt x="455" y="121"/>
                </a:lnTo>
                <a:close/>
                <a:moveTo>
                  <a:pt x="205" y="371"/>
                </a:moveTo>
                <a:lnTo>
                  <a:pt x="139" y="371"/>
                </a:lnTo>
                <a:lnTo>
                  <a:pt x="139" y="456"/>
                </a:lnTo>
                <a:lnTo>
                  <a:pt x="63" y="456"/>
                </a:lnTo>
                <a:lnTo>
                  <a:pt x="63" y="371"/>
                </a:lnTo>
                <a:lnTo>
                  <a:pt x="0" y="371"/>
                </a:lnTo>
                <a:lnTo>
                  <a:pt x="101" y="251"/>
                </a:lnTo>
                <a:lnTo>
                  <a:pt x="205" y="371"/>
                </a:lnTo>
                <a:close/>
                <a:moveTo>
                  <a:pt x="205" y="503"/>
                </a:moveTo>
                <a:lnTo>
                  <a:pt x="0" y="503"/>
                </a:lnTo>
                <a:lnTo>
                  <a:pt x="0" y="709"/>
                </a:lnTo>
                <a:lnTo>
                  <a:pt x="205" y="709"/>
                </a:lnTo>
                <a:lnTo>
                  <a:pt x="205" y="503"/>
                </a:lnTo>
                <a:close/>
                <a:moveTo>
                  <a:pt x="708" y="503"/>
                </a:moveTo>
                <a:lnTo>
                  <a:pt x="503" y="503"/>
                </a:lnTo>
                <a:lnTo>
                  <a:pt x="503" y="709"/>
                </a:lnTo>
                <a:lnTo>
                  <a:pt x="708" y="709"/>
                </a:lnTo>
                <a:lnTo>
                  <a:pt x="708" y="503"/>
                </a:lnTo>
                <a:close/>
                <a:moveTo>
                  <a:pt x="708" y="0"/>
                </a:moveTo>
                <a:lnTo>
                  <a:pt x="503" y="0"/>
                </a:lnTo>
                <a:lnTo>
                  <a:pt x="503" y="206"/>
                </a:lnTo>
                <a:lnTo>
                  <a:pt x="708" y="206"/>
                </a:lnTo>
                <a:lnTo>
                  <a:pt x="708" y="0"/>
                </a:lnTo>
                <a:close/>
                <a:moveTo>
                  <a:pt x="708" y="251"/>
                </a:moveTo>
                <a:lnTo>
                  <a:pt x="503" y="251"/>
                </a:lnTo>
                <a:lnTo>
                  <a:pt x="503" y="456"/>
                </a:lnTo>
                <a:lnTo>
                  <a:pt x="708" y="456"/>
                </a:lnTo>
                <a:lnTo>
                  <a:pt x="708" y="251"/>
                </a:lnTo>
                <a:close/>
                <a:moveTo>
                  <a:pt x="455" y="251"/>
                </a:moveTo>
                <a:lnTo>
                  <a:pt x="250" y="251"/>
                </a:lnTo>
                <a:lnTo>
                  <a:pt x="250" y="456"/>
                </a:lnTo>
                <a:lnTo>
                  <a:pt x="455" y="456"/>
                </a:lnTo>
                <a:lnTo>
                  <a:pt x="455" y="251"/>
                </a:lnTo>
                <a:close/>
                <a:moveTo>
                  <a:pt x="455" y="503"/>
                </a:moveTo>
                <a:lnTo>
                  <a:pt x="250" y="503"/>
                </a:lnTo>
                <a:lnTo>
                  <a:pt x="250" y="709"/>
                </a:lnTo>
                <a:lnTo>
                  <a:pt x="455" y="709"/>
                </a:lnTo>
                <a:lnTo>
                  <a:pt x="455" y="5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0" tIns="54861" rIns="109721" bIns="54861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pic>
        <p:nvPicPr>
          <p:cNvPr id="30" name="Picture 30" descr="service-based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11338" y="1416611"/>
            <a:ext cx="1398510" cy="1449420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椭圆 32"/>
          <p:cNvSpPr/>
          <p:nvPr/>
        </p:nvSpPr>
        <p:spPr>
          <a:xfrm>
            <a:off x="967712" y="3401667"/>
            <a:ext cx="152400" cy="1524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文本框 33"/>
          <p:cNvSpPr txBox="1"/>
          <p:nvPr/>
        </p:nvSpPr>
        <p:spPr>
          <a:xfrm>
            <a:off x="1120112" y="3274574"/>
            <a:ext cx="22388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en-US" altLang="zh-CN" sz="2000" dirty="0" smtClean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椭圆 34"/>
          <p:cNvSpPr/>
          <p:nvPr/>
        </p:nvSpPr>
        <p:spPr>
          <a:xfrm>
            <a:off x="2575499" y="5200877"/>
            <a:ext cx="152400" cy="152400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文本框 35"/>
          <p:cNvSpPr txBox="1"/>
          <p:nvPr/>
        </p:nvSpPr>
        <p:spPr>
          <a:xfrm>
            <a:off x="2727899" y="5073784"/>
            <a:ext cx="22388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en-US" altLang="zh-CN" sz="2000" dirty="0" smtClean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椭圆 36"/>
          <p:cNvSpPr/>
          <p:nvPr/>
        </p:nvSpPr>
        <p:spPr>
          <a:xfrm>
            <a:off x="7042724" y="543161"/>
            <a:ext cx="152400" cy="152400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文本框 37"/>
          <p:cNvSpPr txBox="1"/>
          <p:nvPr/>
        </p:nvSpPr>
        <p:spPr>
          <a:xfrm>
            <a:off x="7195124" y="416068"/>
            <a:ext cx="22388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en-US" altLang="zh-CN" sz="2000" dirty="0" smtClean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椭圆 38"/>
          <p:cNvSpPr/>
          <p:nvPr/>
        </p:nvSpPr>
        <p:spPr>
          <a:xfrm>
            <a:off x="8763399" y="2245570"/>
            <a:ext cx="152400" cy="1524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文本框 39"/>
          <p:cNvSpPr txBox="1"/>
          <p:nvPr/>
        </p:nvSpPr>
        <p:spPr>
          <a:xfrm>
            <a:off x="8915799" y="2118477"/>
            <a:ext cx="22388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en-US" altLang="zh-CN" sz="2000" dirty="0" smtClean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丰科技</a:t>
            </a:r>
            <a:endParaRPr lang="zh-CN" altLang="en-US" sz="20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512729" y="396240"/>
            <a:ext cx="2914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</a:t>
            </a:r>
            <a:r>
              <a:rPr lang="zh-CN" altLang="en-US" sz="36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大标题</a:t>
            </a:r>
            <a:endParaRPr lang="zh-CN" altLang="en-US" sz="36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60905224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WJbqXVIEKuzluq6Thzvg"/>
</p:tagLst>
</file>

<file path=ppt/theme/theme1.xml><?xml version="1.0" encoding="utf-8"?>
<a:theme xmlns:a="http://schemas.openxmlformats.org/drawingml/2006/main" name="Office 主题">
  <a:themeElements>
    <a:clrScheme name="自定义 2">
      <a:dk1>
        <a:srgbClr val="FFFFFF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基本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1">
      <a:majorFont>
        <a:latin typeface="Arial Unicode MS"/>
        <a:ea typeface="微软雅黑"/>
        <a:cs typeface=""/>
      </a:majorFont>
      <a:minorFont>
        <a:latin typeface="Arial Unicode MS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0</TotalTime>
  <Words>319</Words>
  <Application>Microsoft Office PowerPoint</Application>
  <PresentationFormat>自定义</PresentationFormat>
  <Paragraphs>107</Paragraphs>
  <Slides>16</Slides>
  <Notes>0</Notes>
  <HiddenSlides>0</HiddenSlides>
  <MMClips>0</MMClips>
  <ScaleCrop>false</ScaleCrop>
  <HeadingPairs>
    <vt:vector size="4" baseType="variant">
      <vt:variant>
        <vt:lpstr>主题</vt:lpstr>
      </vt:variant>
      <vt:variant>
        <vt:i4>2</vt:i4>
      </vt:variant>
      <vt:variant>
        <vt:lpstr>幻灯片标题</vt:lpstr>
      </vt:variant>
      <vt:variant>
        <vt:i4>16</vt:i4>
      </vt:variant>
    </vt:vector>
  </HeadingPairs>
  <TitlesOfParts>
    <vt:vector size="18" baseType="lpstr">
      <vt:lpstr>Office 主题</vt:lpstr>
      <vt:lpstr>自定义设计方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夏晓庆(Xiaoqing Xia)-互联网业务研发中心</dc:creator>
  <cp:lastModifiedBy>夏晓庆(Xiaoqing Xia)-孵化与新业务研发中心</cp:lastModifiedBy>
  <cp:revision>96</cp:revision>
  <dcterms:created xsi:type="dcterms:W3CDTF">2013-10-24T14:40:58Z</dcterms:created>
  <dcterms:modified xsi:type="dcterms:W3CDTF">2017-01-04T03:42:30Z</dcterms:modified>
</cp:coreProperties>
</file>